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5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6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omments/modernComment_7FFFD4E3_A244185A.xml" ContentType="application/vnd.ms-powerpoint.comments+xml"/>
  <Override PartName="/ppt/tags/tag77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7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998" r:id="rId5"/>
    <p:sldMasterId id="2147484020" r:id="rId6"/>
    <p:sldMasterId id="2147484072" r:id="rId7"/>
    <p:sldMasterId id="2147484099" r:id="rId8"/>
    <p:sldMasterId id="2147484132" r:id="rId9"/>
  </p:sldMasterIdLst>
  <p:notesMasterIdLst>
    <p:notesMasterId r:id="rId38"/>
  </p:notesMasterIdLst>
  <p:handoutMasterIdLst>
    <p:handoutMasterId r:id="rId39"/>
  </p:handoutMasterIdLst>
  <p:sldIdLst>
    <p:sldId id="2147480248" r:id="rId10"/>
    <p:sldId id="2147480235" r:id="rId11"/>
    <p:sldId id="2147480253" r:id="rId12"/>
    <p:sldId id="2147480298" r:id="rId13"/>
    <p:sldId id="258" r:id="rId14"/>
    <p:sldId id="2147472611" r:id="rId15"/>
    <p:sldId id="2147480299" r:id="rId16"/>
    <p:sldId id="4447" r:id="rId17"/>
    <p:sldId id="416" r:id="rId18"/>
    <p:sldId id="422" r:id="rId19"/>
    <p:sldId id="423" r:id="rId20"/>
    <p:sldId id="2147471361" r:id="rId21"/>
    <p:sldId id="2146847435" r:id="rId22"/>
    <p:sldId id="2147469810" r:id="rId23"/>
    <p:sldId id="998" r:id="rId24"/>
    <p:sldId id="2147471323" r:id="rId25"/>
    <p:sldId id="265" r:id="rId26"/>
    <p:sldId id="2147471368" r:id="rId27"/>
    <p:sldId id="2147471325" r:id="rId28"/>
    <p:sldId id="2147471326" r:id="rId29"/>
    <p:sldId id="2147471328" r:id="rId30"/>
    <p:sldId id="2147471330" r:id="rId31"/>
    <p:sldId id="2147471351" r:id="rId32"/>
    <p:sldId id="2147480300" r:id="rId33"/>
    <p:sldId id="2147480301" r:id="rId34"/>
    <p:sldId id="2147480302" r:id="rId35"/>
    <p:sldId id="2147480303" r:id="rId36"/>
    <p:sldId id="2147480304" r:id="rId37"/>
  </p:sldIdLst>
  <p:sldSz cx="12192000" cy="6858000"/>
  <p:notesSz cx="10018713" cy="14447838"/>
  <p:custDataLst>
    <p:tags r:id="rId40"/>
  </p:custDataLst>
  <p:defaultTextStyle>
    <a:defPPr>
      <a:defRPr lang="nl-NL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4551" userDrawn="1">
          <p15:clr>
            <a:srgbClr val="A4A3A4"/>
          </p15:clr>
        </p15:guide>
        <p15:guide id="2" pos="3156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A915E26-632D-E6F1-A5E5-FFD3719339AE}" name="Rijthoven, Michiel van (VodafoneZiggo)" initials="R(" userId="S::michiel.vanrijthoven@vodafoneziggo.com::1bc38670-6d9f-47f4-9daf-b35786a458c0" providerId="AD"/>
  <p188:author id="{C078E8C3-BD64-5F9F-C169-89D5DF8B221C}" name="Amelsfort, Leoni van (VodafoneZiggo)" initials="ALv(" userId="S::leoni.vanamelsfort@vodafoneziggo.com::6b13f780-3cfc-47b5-8d6b-ca0eaff056d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sabel Gorsira" initials="IG" lastIdx="6" clrIdx="0">
    <p:extLst>
      <p:ext uri="{19B8F6BF-5375-455C-9EA6-DF929625EA0E}">
        <p15:presenceInfo xmlns:p15="http://schemas.microsoft.com/office/powerpoint/2012/main" userId="S::isabel@mrprezident.com::ca93478b-b6e0-4212-bc86-b61bdb0fb6c3" providerId="AD"/>
      </p:ext>
    </p:extLst>
  </p:cmAuthor>
  <p:cmAuthor id="2" name="Hud Duque" initials="HD" lastIdx="6" clrIdx="1">
    <p:extLst>
      <p:ext uri="{19B8F6BF-5375-455C-9EA6-DF929625EA0E}">
        <p15:presenceInfo xmlns:p15="http://schemas.microsoft.com/office/powerpoint/2012/main" userId="Hud Duqu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1F3"/>
    <a:srgbClr val="B7472A"/>
    <a:srgbClr val="575756"/>
    <a:srgbClr val="5DAA1A"/>
    <a:srgbClr val="00CC00"/>
    <a:srgbClr val="FFFFFF"/>
    <a:srgbClr val="888888"/>
    <a:srgbClr val="4A4A4A"/>
    <a:srgbClr val="414141"/>
    <a:srgbClr val="DADA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Stijl, gemiddeld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ijl, gemiddeld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Stijl, gemiddeld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Stijl, gemiddeld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Stijl, gemiddeld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Stijl, gemiddeld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Geen stijl, tabel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51"/>
    <p:restoredTop sz="94694"/>
  </p:normalViewPr>
  <p:slideViewPr>
    <p:cSldViewPr snapToGrid="0">
      <p:cViewPr varScale="1">
        <p:scale>
          <a:sx n="117" d="100"/>
          <a:sy n="117" d="100"/>
        </p:scale>
        <p:origin x="88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4551"/>
        <p:guide pos="315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notesMaster" Target="notesMasters/notesMaster1.xml"/><Relationship Id="rId46" Type="http://schemas.microsoft.com/office/2018/10/relationships/authors" Target="authors.xml"/><Relationship Id="rId20" Type="http://schemas.openxmlformats.org/officeDocument/2006/relationships/slide" Target="slides/slide11.xml"/><Relationship Id="rId41" Type="http://schemas.openxmlformats.org/officeDocument/2006/relationships/commentAuthors" Target="commentAuthors.xml"/></Relationships>
</file>

<file path=ppt/comments/modernComment_7FFFD4E3_A244185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5BE8CB0-E9A5-43E1-88C6-3BA9A1DC8BD4}" authorId="{C078E8C3-BD64-5F9F-C169-89D5DF8B221C}" created="2023-11-08T12:55:42.898">
    <pc:sldMkLst xmlns:pc="http://schemas.microsoft.com/office/powerpoint/2013/main/command">
      <pc:docMk/>
      <pc:sldMk cId="2722371674" sldId="2147472611"/>
    </pc:sldMkLst>
    <p188:replyLst>
      <p188:reply id="{8F8045FC-29A2-496D-873A-B095858932C9}" authorId="{8A915E26-632D-E6F1-A5E5-FFD3719339AE}" created="2023-11-08T17:20:55.913">
        <p188:txBody>
          <a:bodyPr/>
          <a:lstStyle/>
          <a:p>
            <a:r>
              <a:rPr lang="en-US"/>
              <a:t>yes, process en data zit er bij ons bij</a:t>
            </a:r>
          </a:p>
        </p188:txBody>
      </p188:reply>
    </p188:replyLst>
    <p188:txBody>
      <a:bodyPr/>
      <a:lstStyle/>
      <a:p>
        <a:r>
          <a:rPr lang="nl-NL"/>
          <a:t>Ik zag dat Thomas een slide heeft met 5 focus areas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699449-5C23-AC49-8D19-7E9A8487BAC1}" type="doc">
      <dgm:prSet loTypeId="urn:microsoft.com/office/officeart/2008/layout/VerticalCurvedList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61362E8-74B4-0841-8651-446C86335386}">
      <dgm:prSet phldrT="[Text]"/>
      <dgm:spPr/>
      <dgm:t>
        <a:bodyPr/>
        <a:lstStyle/>
        <a:p>
          <a:r>
            <a:rPr lang="en-US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Within VodafoneZiggo, employees can find information on policy, practices and systems through </a:t>
          </a:r>
          <a:r>
            <a:rPr lang="en-US" b="1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elf-service</a:t>
          </a:r>
          <a:r>
            <a:rPr lang="en-US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or answers from a </a:t>
          </a:r>
          <a:r>
            <a:rPr lang="en-US" b="1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pecialist</a:t>
          </a:r>
          <a:r>
            <a:rPr lang="en-US" b="1">
              <a:latin typeface="Arial" panose="020B0604020202020204" pitchFamily="34" charset="0"/>
              <a:ea typeface="Calibri" panose="020F0502020204030204" pitchFamily="34" charset="0"/>
            </a:rPr>
            <a:t>.</a:t>
          </a:r>
          <a:endParaRPr lang="en-GB"/>
        </a:p>
      </dgm:t>
    </dgm:pt>
    <dgm:pt modelId="{4515AF6B-73DD-E745-A81D-1D2EE36CA3C4}" type="parTrans" cxnId="{BB008976-D24D-E245-84C4-48DD7E7B2F4B}">
      <dgm:prSet/>
      <dgm:spPr/>
      <dgm:t>
        <a:bodyPr/>
        <a:lstStyle/>
        <a:p>
          <a:endParaRPr lang="en-GB"/>
        </a:p>
      </dgm:t>
    </dgm:pt>
    <dgm:pt modelId="{D66B52AF-3E7E-9640-848F-6D11861769CE}" type="sibTrans" cxnId="{BB008976-D24D-E245-84C4-48DD7E7B2F4B}">
      <dgm:prSet/>
      <dgm:spPr/>
      <dgm:t>
        <a:bodyPr/>
        <a:lstStyle/>
        <a:p>
          <a:endParaRPr lang="en-GB"/>
        </a:p>
      </dgm:t>
    </dgm:pt>
    <dgm:pt modelId="{105E2DB0-711B-3847-B853-6AEB603E7617}">
      <dgm:prSet/>
      <dgm:spPr/>
      <dgm:t>
        <a:bodyPr/>
        <a:lstStyle/>
        <a:p>
          <a:r>
            <a:rPr lang="en-US" b="1">
              <a:effectLst/>
              <a:latin typeface="Arial" panose="020B0604020202020204" pitchFamily="34" charset="0"/>
              <a:ea typeface="Calibri" panose="020F0502020204030204" pitchFamily="34" charset="0"/>
            </a:rPr>
            <a:t>Finding information through these channels consumes </a:t>
          </a:r>
          <a:r>
            <a:rPr lang="en-US" b="1" u="sng">
              <a:effectLst/>
              <a:latin typeface="Arial" panose="020B0604020202020204" pitchFamily="34" charset="0"/>
              <a:ea typeface="Calibri" panose="020F0502020204030204" pitchFamily="34" charset="0"/>
            </a:rPr>
            <a:t>time</a:t>
          </a:r>
          <a:r>
            <a:rPr lang="en-US">
              <a:effectLst/>
              <a:latin typeface="Arial" panose="020B0604020202020204" pitchFamily="34" charset="0"/>
              <a:ea typeface="Calibri" panose="020F0502020204030204" pitchFamily="34" charset="0"/>
            </a:rPr>
            <a:t> for both employee</a:t>
          </a:r>
          <a:r>
            <a:rPr lang="en-NL">
              <a:effectLst/>
            </a:rPr>
            <a:t> and HR</a:t>
          </a:r>
        </a:p>
      </dgm:t>
    </dgm:pt>
    <dgm:pt modelId="{F8541F77-6554-2545-967A-4D592EBD3CD0}" type="parTrans" cxnId="{0BD08E38-88A0-A94C-89F1-1A20962D2270}">
      <dgm:prSet/>
      <dgm:spPr/>
      <dgm:t>
        <a:bodyPr/>
        <a:lstStyle/>
        <a:p>
          <a:endParaRPr lang="en-GB"/>
        </a:p>
      </dgm:t>
    </dgm:pt>
    <dgm:pt modelId="{844DEDD8-69C2-CD4D-9E29-971A14210FDF}" type="sibTrans" cxnId="{0BD08E38-88A0-A94C-89F1-1A20962D2270}">
      <dgm:prSet/>
      <dgm:spPr/>
      <dgm:t>
        <a:bodyPr/>
        <a:lstStyle/>
        <a:p>
          <a:endParaRPr lang="en-GB"/>
        </a:p>
      </dgm:t>
    </dgm:pt>
    <dgm:pt modelId="{BC389CEE-0078-8F46-A18A-B9685CC83A4F}">
      <dgm:prSet/>
      <dgm:spPr/>
      <dgm:t>
        <a:bodyPr/>
        <a:lstStyle/>
        <a:p>
          <a:r>
            <a:rPr lang="en-US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o reduce time spent by HR and employees on finding answers to HR-related questions and improve employee experience, </a:t>
          </a:r>
          <a:r>
            <a:rPr lang="en-US" b="1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he ability to self-service in case of HR questions can be improved.</a:t>
          </a:r>
          <a:endParaRPr lang="en-NL">
            <a:effectLst/>
            <a:latin typeface="Arial" panose="020B0604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CD294D54-FDCD-A44C-846E-8741A9C3EB5A}" type="parTrans" cxnId="{2C6BD122-847F-AD42-B119-B1881C802971}">
      <dgm:prSet/>
      <dgm:spPr/>
      <dgm:t>
        <a:bodyPr/>
        <a:lstStyle/>
        <a:p>
          <a:endParaRPr lang="en-GB"/>
        </a:p>
      </dgm:t>
    </dgm:pt>
    <dgm:pt modelId="{9D1E2480-1551-A34D-94B9-F30BCA2F40FF}" type="sibTrans" cxnId="{2C6BD122-847F-AD42-B119-B1881C802971}">
      <dgm:prSet/>
      <dgm:spPr/>
      <dgm:t>
        <a:bodyPr/>
        <a:lstStyle/>
        <a:p>
          <a:endParaRPr lang="en-GB"/>
        </a:p>
      </dgm:t>
    </dgm:pt>
    <dgm:pt modelId="{3846CB53-E1F3-4640-A3DD-2A67A30C6C22}">
      <dgm:prSet/>
      <dgm:spPr/>
      <dgm:t>
        <a:bodyPr/>
        <a:lstStyle/>
        <a:p>
          <a:r>
            <a:rPr lang="en-US">
              <a:effectLst/>
              <a:latin typeface="Arial" panose="020B0604020202020204" pitchFamily="34" charset="0"/>
              <a:ea typeface="Calibri" panose="020F0502020204030204" pitchFamily="34" charset="0"/>
            </a:rPr>
            <a:t>In order to improve the ability to self-service, </a:t>
          </a:r>
          <a:r>
            <a:rPr lang="en-US" b="1">
              <a:effectLst/>
              <a:latin typeface="Arial" panose="020B0604020202020204" pitchFamily="34" charset="0"/>
              <a:ea typeface="Calibri" panose="020F0502020204030204" pitchFamily="34" charset="0"/>
            </a:rPr>
            <a:t>a chatbot solution is developed capable to answer questions about the employee journey</a:t>
          </a:r>
          <a:r>
            <a:rPr lang="en-NL">
              <a:effectLst/>
            </a:rPr>
            <a:t> correctly</a:t>
          </a:r>
          <a:endParaRPr lang="en-GB">
            <a:latin typeface="Arial" panose="020B0604020202020204" pitchFamily="34" charset="0"/>
          </a:endParaRPr>
        </a:p>
      </dgm:t>
    </dgm:pt>
    <dgm:pt modelId="{7F5D3CB3-7617-F94D-9314-4577BF86EFE3}" type="parTrans" cxnId="{44A2CF28-D7DA-B740-9717-489AC317CA6D}">
      <dgm:prSet/>
      <dgm:spPr/>
      <dgm:t>
        <a:bodyPr/>
        <a:lstStyle/>
        <a:p>
          <a:endParaRPr lang="en-GB"/>
        </a:p>
      </dgm:t>
    </dgm:pt>
    <dgm:pt modelId="{D7B8064D-903B-5C46-B05E-5B2C87B291BE}" type="sibTrans" cxnId="{44A2CF28-D7DA-B740-9717-489AC317CA6D}">
      <dgm:prSet/>
      <dgm:spPr/>
      <dgm:t>
        <a:bodyPr/>
        <a:lstStyle/>
        <a:p>
          <a:endParaRPr lang="en-GB"/>
        </a:p>
      </dgm:t>
    </dgm:pt>
    <dgm:pt modelId="{F52904D5-8D63-8248-889C-BA564E856AC5}" type="pres">
      <dgm:prSet presAssocID="{B4699449-5C23-AC49-8D19-7E9A8487BAC1}" presName="Name0" presStyleCnt="0">
        <dgm:presLayoutVars>
          <dgm:chMax val="7"/>
          <dgm:chPref val="7"/>
          <dgm:dir/>
        </dgm:presLayoutVars>
      </dgm:prSet>
      <dgm:spPr/>
    </dgm:pt>
    <dgm:pt modelId="{6FA7645C-3D0C-7B45-9F30-7560B29CD906}" type="pres">
      <dgm:prSet presAssocID="{B4699449-5C23-AC49-8D19-7E9A8487BAC1}" presName="Name1" presStyleCnt="0"/>
      <dgm:spPr/>
    </dgm:pt>
    <dgm:pt modelId="{2DD9C116-98FC-5640-92F7-F2C9BFCDFA90}" type="pres">
      <dgm:prSet presAssocID="{B4699449-5C23-AC49-8D19-7E9A8487BAC1}" presName="cycle" presStyleCnt="0"/>
      <dgm:spPr/>
    </dgm:pt>
    <dgm:pt modelId="{7102826C-C137-8241-B811-45D055712EF7}" type="pres">
      <dgm:prSet presAssocID="{B4699449-5C23-AC49-8D19-7E9A8487BAC1}" presName="srcNode" presStyleLbl="node1" presStyleIdx="0" presStyleCnt="4"/>
      <dgm:spPr/>
    </dgm:pt>
    <dgm:pt modelId="{CC7DC62A-0F23-AA4D-933F-66BE6A1638C0}" type="pres">
      <dgm:prSet presAssocID="{B4699449-5C23-AC49-8D19-7E9A8487BAC1}" presName="conn" presStyleLbl="parChTrans1D2" presStyleIdx="0" presStyleCnt="1"/>
      <dgm:spPr/>
    </dgm:pt>
    <dgm:pt modelId="{74516661-6FDF-6E4A-BE81-EDA51BE69308}" type="pres">
      <dgm:prSet presAssocID="{B4699449-5C23-AC49-8D19-7E9A8487BAC1}" presName="extraNode" presStyleLbl="node1" presStyleIdx="0" presStyleCnt="4"/>
      <dgm:spPr/>
    </dgm:pt>
    <dgm:pt modelId="{60A62CBF-4177-C24E-BB84-0C2910C8FF1D}" type="pres">
      <dgm:prSet presAssocID="{B4699449-5C23-AC49-8D19-7E9A8487BAC1}" presName="dstNode" presStyleLbl="node1" presStyleIdx="0" presStyleCnt="4"/>
      <dgm:spPr/>
    </dgm:pt>
    <dgm:pt modelId="{09F79B95-F38A-0741-B717-E3D99545FD2A}" type="pres">
      <dgm:prSet presAssocID="{461362E8-74B4-0841-8651-446C86335386}" presName="text_1" presStyleLbl="node1" presStyleIdx="0" presStyleCnt="4">
        <dgm:presLayoutVars>
          <dgm:bulletEnabled val="1"/>
        </dgm:presLayoutVars>
      </dgm:prSet>
      <dgm:spPr/>
    </dgm:pt>
    <dgm:pt modelId="{CCD98A92-C3E0-164F-B7ED-153D58DCFA1F}" type="pres">
      <dgm:prSet presAssocID="{461362E8-74B4-0841-8651-446C86335386}" presName="accent_1" presStyleCnt="0"/>
      <dgm:spPr/>
    </dgm:pt>
    <dgm:pt modelId="{5C932101-8EE1-3645-ADB2-B7B5CB148556}" type="pres">
      <dgm:prSet presAssocID="{461362E8-74B4-0841-8651-446C86335386}" presName="accentRepeatNode" presStyleLbl="solidFgAcc1" presStyleIdx="0" presStyleCnt="4"/>
      <dgm:spPr/>
    </dgm:pt>
    <dgm:pt modelId="{92982A6F-0843-BE48-91A2-59F2FABD0E92}" type="pres">
      <dgm:prSet presAssocID="{105E2DB0-711B-3847-B853-6AEB603E7617}" presName="text_2" presStyleLbl="node1" presStyleIdx="1" presStyleCnt="4">
        <dgm:presLayoutVars>
          <dgm:bulletEnabled val="1"/>
        </dgm:presLayoutVars>
      </dgm:prSet>
      <dgm:spPr/>
    </dgm:pt>
    <dgm:pt modelId="{7B98085F-F612-0441-B505-2D670076BAA6}" type="pres">
      <dgm:prSet presAssocID="{105E2DB0-711B-3847-B853-6AEB603E7617}" presName="accent_2" presStyleCnt="0"/>
      <dgm:spPr/>
    </dgm:pt>
    <dgm:pt modelId="{70DEAD4E-5982-1A48-9264-2D35A1CAABDF}" type="pres">
      <dgm:prSet presAssocID="{105E2DB0-711B-3847-B853-6AEB603E7617}" presName="accentRepeatNode" presStyleLbl="solidFgAcc1" presStyleIdx="1" presStyleCnt="4"/>
      <dgm:spPr/>
    </dgm:pt>
    <dgm:pt modelId="{1323602B-4E89-1E44-BFCB-A8B2ABA5EA6B}" type="pres">
      <dgm:prSet presAssocID="{BC389CEE-0078-8F46-A18A-B9685CC83A4F}" presName="text_3" presStyleLbl="node1" presStyleIdx="2" presStyleCnt="4">
        <dgm:presLayoutVars>
          <dgm:bulletEnabled val="1"/>
        </dgm:presLayoutVars>
      </dgm:prSet>
      <dgm:spPr/>
    </dgm:pt>
    <dgm:pt modelId="{07AA8E54-06E0-9A4B-AC65-06B7E1A36062}" type="pres">
      <dgm:prSet presAssocID="{BC389CEE-0078-8F46-A18A-B9685CC83A4F}" presName="accent_3" presStyleCnt="0"/>
      <dgm:spPr/>
    </dgm:pt>
    <dgm:pt modelId="{F8454C27-1426-E040-8241-689BC21060F2}" type="pres">
      <dgm:prSet presAssocID="{BC389CEE-0078-8F46-A18A-B9685CC83A4F}" presName="accentRepeatNode" presStyleLbl="solidFgAcc1" presStyleIdx="2" presStyleCnt="4"/>
      <dgm:spPr/>
    </dgm:pt>
    <dgm:pt modelId="{740D2343-A351-0E4F-ABA9-E3F761CF7BE2}" type="pres">
      <dgm:prSet presAssocID="{3846CB53-E1F3-4640-A3DD-2A67A30C6C22}" presName="text_4" presStyleLbl="node1" presStyleIdx="3" presStyleCnt="4">
        <dgm:presLayoutVars>
          <dgm:bulletEnabled val="1"/>
        </dgm:presLayoutVars>
      </dgm:prSet>
      <dgm:spPr/>
    </dgm:pt>
    <dgm:pt modelId="{EF164A8B-F0B8-404B-AA50-D8264D1241E8}" type="pres">
      <dgm:prSet presAssocID="{3846CB53-E1F3-4640-A3DD-2A67A30C6C22}" presName="accent_4" presStyleCnt="0"/>
      <dgm:spPr/>
    </dgm:pt>
    <dgm:pt modelId="{B4FE2FD9-1BDA-5044-9B2D-5E9266E67582}" type="pres">
      <dgm:prSet presAssocID="{3846CB53-E1F3-4640-A3DD-2A67A30C6C22}" presName="accentRepeatNode" presStyleLbl="solidFgAcc1" presStyleIdx="3" presStyleCnt="4"/>
      <dgm:spPr/>
    </dgm:pt>
  </dgm:ptLst>
  <dgm:cxnLst>
    <dgm:cxn modelId="{2C6BD122-847F-AD42-B119-B1881C802971}" srcId="{B4699449-5C23-AC49-8D19-7E9A8487BAC1}" destId="{BC389CEE-0078-8F46-A18A-B9685CC83A4F}" srcOrd="2" destOrd="0" parTransId="{CD294D54-FDCD-A44C-846E-8741A9C3EB5A}" sibTransId="{9D1E2480-1551-A34D-94B9-F30BCA2F40FF}"/>
    <dgm:cxn modelId="{44A2CF28-D7DA-B740-9717-489AC317CA6D}" srcId="{B4699449-5C23-AC49-8D19-7E9A8487BAC1}" destId="{3846CB53-E1F3-4640-A3DD-2A67A30C6C22}" srcOrd="3" destOrd="0" parTransId="{7F5D3CB3-7617-F94D-9314-4577BF86EFE3}" sibTransId="{D7B8064D-903B-5C46-B05E-5B2C87B291BE}"/>
    <dgm:cxn modelId="{0BD08E38-88A0-A94C-89F1-1A20962D2270}" srcId="{B4699449-5C23-AC49-8D19-7E9A8487BAC1}" destId="{105E2DB0-711B-3847-B853-6AEB603E7617}" srcOrd="1" destOrd="0" parTransId="{F8541F77-6554-2545-967A-4D592EBD3CD0}" sibTransId="{844DEDD8-69C2-CD4D-9E29-971A14210FDF}"/>
    <dgm:cxn modelId="{14D43B5D-58B4-E445-89AE-C7F978C44A3A}" type="presOf" srcId="{3846CB53-E1F3-4640-A3DD-2A67A30C6C22}" destId="{740D2343-A351-0E4F-ABA9-E3F761CF7BE2}" srcOrd="0" destOrd="0" presId="urn:microsoft.com/office/officeart/2008/layout/VerticalCurvedList"/>
    <dgm:cxn modelId="{F8E15176-B833-2443-A223-DC4720819BC9}" type="presOf" srcId="{105E2DB0-711B-3847-B853-6AEB603E7617}" destId="{92982A6F-0843-BE48-91A2-59F2FABD0E92}" srcOrd="0" destOrd="0" presId="urn:microsoft.com/office/officeart/2008/layout/VerticalCurvedList"/>
    <dgm:cxn modelId="{BB008976-D24D-E245-84C4-48DD7E7B2F4B}" srcId="{B4699449-5C23-AC49-8D19-7E9A8487BAC1}" destId="{461362E8-74B4-0841-8651-446C86335386}" srcOrd="0" destOrd="0" parTransId="{4515AF6B-73DD-E745-A81D-1D2EE36CA3C4}" sibTransId="{D66B52AF-3E7E-9640-848F-6D11861769CE}"/>
    <dgm:cxn modelId="{F0276585-65D9-FE43-8B15-889329FD0F5A}" type="presOf" srcId="{D66B52AF-3E7E-9640-848F-6D11861769CE}" destId="{CC7DC62A-0F23-AA4D-933F-66BE6A1638C0}" srcOrd="0" destOrd="0" presId="urn:microsoft.com/office/officeart/2008/layout/VerticalCurvedList"/>
    <dgm:cxn modelId="{C581B3A3-CD8C-7A4D-A30F-36684C04DBAB}" type="presOf" srcId="{BC389CEE-0078-8F46-A18A-B9685CC83A4F}" destId="{1323602B-4E89-1E44-BFCB-A8B2ABA5EA6B}" srcOrd="0" destOrd="0" presId="urn:microsoft.com/office/officeart/2008/layout/VerticalCurvedList"/>
    <dgm:cxn modelId="{A214F8A6-B21F-D94A-A4A7-55EC1795CB30}" type="presOf" srcId="{461362E8-74B4-0841-8651-446C86335386}" destId="{09F79B95-F38A-0741-B717-E3D99545FD2A}" srcOrd="0" destOrd="0" presId="urn:microsoft.com/office/officeart/2008/layout/VerticalCurvedList"/>
    <dgm:cxn modelId="{3F2F9BE4-4967-764E-A712-21AF1A484044}" type="presOf" srcId="{B4699449-5C23-AC49-8D19-7E9A8487BAC1}" destId="{F52904D5-8D63-8248-889C-BA564E856AC5}" srcOrd="0" destOrd="0" presId="urn:microsoft.com/office/officeart/2008/layout/VerticalCurvedList"/>
    <dgm:cxn modelId="{398B1018-2071-7348-A4A7-855AB88D279D}" type="presParOf" srcId="{F52904D5-8D63-8248-889C-BA564E856AC5}" destId="{6FA7645C-3D0C-7B45-9F30-7560B29CD906}" srcOrd="0" destOrd="0" presId="urn:microsoft.com/office/officeart/2008/layout/VerticalCurvedList"/>
    <dgm:cxn modelId="{FF58591E-CBBB-3D41-AB47-345A1467A131}" type="presParOf" srcId="{6FA7645C-3D0C-7B45-9F30-7560B29CD906}" destId="{2DD9C116-98FC-5640-92F7-F2C9BFCDFA90}" srcOrd="0" destOrd="0" presId="urn:microsoft.com/office/officeart/2008/layout/VerticalCurvedList"/>
    <dgm:cxn modelId="{F1D663BE-329D-8A48-9F5F-67B6D799035C}" type="presParOf" srcId="{2DD9C116-98FC-5640-92F7-F2C9BFCDFA90}" destId="{7102826C-C137-8241-B811-45D055712EF7}" srcOrd="0" destOrd="0" presId="urn:microsoft.com/office/officeart/2008/layout/VerticalCurvedList"/>
    <dgm:cxn modelId="{CC56D757-7825-9E42-A182-26C1C19D5C9D}" type="presParOf" srcId="{2DD9C116-98FC-5640-92F7-F2C9BFCDFA90}" destId="{CC7DC62A-0F23-AA4D-933F-66BE6A1638C0}" srcOrd="1" destOrd="0" presId="urn:microsoft.com/office/officeart/2008/layout/VerticalCurvedList"/>
    <dgm:cxn modelId="{753F0BFD-ED3B-9B4B-8566-3C2C129025D5}" type="presParOf" srcId="{2DD9C116-98FC-5640-92F7-F2C9BFCDFA90}" destId="{74516661-6FDF-6E4A-BE81-EDA51BE69308}" srcOrd="2" destOrd="0" presId="urn:microsoft.com/office/officeart/2008/layout/VerticalCurvedList"/>
    <dgm:cxn modelId="{A7599025-A168-EF43-BC35-3FB09E318B4E}" type="presParOf" srcId="{2DD9C116-98FC-5640-92F7-F2C9BFCDFA90}" destId="{60A62CBF-4177-C24E-BB84-0C2910C8FF1D}" srcOrd="3" destOrd="0" presId="urn:microsoft.com/office/officeart/2008/layout/VerticalCurvedList"/>
    <dgm:cxn modelId="{7F0B1920-91B7-1949-BA0E-861F8658119E}" type="presParOf" srcId="{6FA7645C-3D0C-7B45-9F30-7560B29CD906}" destId="{09F79B95-F38A-0741-B717-E3D99545FD2A}" srcOrd="1" destOrd="0" presId="urn:microsoft.com/office/officeart/2008/layout/VerticalCurvedList"/>
    <dgm:cxn modelId="{249AA017-477B-A044-B7F2-4435E589878A}" type="presParOf" srcId="{6FA7645C-3D0C-7B45-9F30-7560B29CD906}" destId="{CCD98A92-C3E0-164F-B7ED-153D58DCFA1F}" srcOrd="2" destOrd="0" presId="urn:microsoft.com/office/officeart/2008/layout/VerticalCurvedList"/>
    <dgm:cxn modelId="{D312E3A6-F9CF-A242-B487-04F089565116}" type="presParOf" srcId="{CCD98A92-C3E0-164F-B7ED-153D58DCFA1F}" destId="{5C932101-8EE1-3645-ADB2-B7B5CB148556}" srcOrd="0" destOrd="0" presId="urn:microsoft.com/office/officeart/2008/layout/VerticalCurvedList"/>
    <dgm:cxn modelId="{8DA5979D-EF7A-2246-BC4A-286871C9E383}" type="presParOf" srcId="{6FA7645C-3D0C-7B45-9F30-7560B29CD906}" destId="{92982A6F-0843-BE48-91A2-59F2FABD0E92}" srcOrd="3" destOrd="0" presId="urn:microsoft.com/office/officeart/2008/layout/VerticalCurvedList"/>
    <dgm:cxn modelId="{6306C9FC-2A57-0B4E-B85D-2869BBF2D193}" type="presParOf" srcId="{6FA7645C-3D0C-7B45-9F30-7560B29CD906}" destId="{7B98085F-F612-0441-B505-2D670076BAA6}" srcOrd="4" destOrd="0" presId="urn:microsoft.com/office/officeart/2008/layout/VerticalCurvedList"/>
    <dgm:cxn modelId="{A1EEEA33-9732-9E4E-9399-4A105F7B6D72}" type="presParOf" srcId="{7B98085F-F612-0441-B505-2D670076BAA6}" destId="{70DEAD4E-5982-1A48-9264-2D35A1CAABDF}" srcOrd="0" destOrd="0" presId="urn:microsoft.com/office/officeart/2008/layout/VerticalCurvedList"/>
    <dgm:cxn modelId="{1B7D0D15-53CD-F549-9A19-8AD52B531134}" type="presParOf" srcId="{6FA7645C-3D0C-7B45-9F30-7560B29CD906}" destId="{1323602B-4E89-1E44-BFCB-A8B2ABA5EA6B}" srcOrd="5" destOrd="0" presId="urn:microsoft.com/office/officeart/2008/layout/VerticalCurvedList"/>
    <dgm:cxn modelId="{18B33E93-B57B-3A44-A692-5C0A2E7CC61A}" type="presParOf" srcId="{6FA7645C-3D0C-7B45-9F30-7560B29CD906}" destId="{07AA8E54-06E0-9A4B-AC65-06B7E1A36062}" srcOrd="6" destOrd="0" presId="urn:microsoft.com/office/officeart/2008/layout/VerticalCurvedList"/>
    <dgm:cxn modelId="{13F809F4-97C8-0743-872C-1260EA976188}" type="presParOf" srcId="{07AA8E54-06E0-9A4B-AC65-06B7E1A36062}" destId="{F8454C27-1426-E040-8241-689BC21060F2}" srcOrd="0" destOrd="0" presId="urn:microsoft.com/office/officeart/2008/layout/VerticalCurvedList"/>
    <dgm:cxn modelId="{D554F720-2B5F-AD44-9542-2217BA5CBD7D}" type="presParOf" srcId="{6FA7645C-3D0C-7B45-9F30-7560B29CD906}" destId="{740D2343-A351-0E4F-ABA9-E3F761CF7BE2}" srcOrd="7" destOrd="0" presId="urn:microsoft.com/office/officeart/2008/layout/VerticalCurvedList"/>
    <dgm:cxn modelId="{E925594D-2C25-9942-AED1-33029375AC07}" type="presParOf" srcId="{6FA7645C-3D0C-7B45-9F30-7560B29CD906}" destId="{EF164A8B-F0B8-404B-AA50-D8264D1241E8}" srcOrd="8" destOrd="0" presId="urn:microsoft.com/office/officeart/2008/layout/VerticalCurvedList"/>
    <dgm:cxn modelId="{4DC60EF0-E974-7045-AC22-ED579256E4DC}" type="presParOf" srcId="{EF164A8B-F0B8-404B-AA50-D8264D1241E8}" destId="{B4FE2FD9-1BDA-5044-9B2D-5E9266E67582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7DC62A-0F23-AA4D-933F-66BE6A1638C0}">
      <dsp:nvSpPr>
        <dsp:cNvPr id="0" name=""/>
        <dsp:cNvSpPr/>
      </dsp:nvSpPr>
      <dsp:spPr>
        <a:xfrm>
          <a:off x="-5071350" y="-776926"/>
          <a:ext cx="6039474" cy="6039474"/>
        </a:xfrm>
        <a:prstGeom prst="blockArc">
          <a:avLst>
            <a:gd name="adj1" fmla="val 18900000"/>
            <a:gd name="adj2" fmla="val 2700000"/>
            <a:gd name="adj3" fmla="val 358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F79B95-F38A-0741-B717-E3D99545FD2A}">
      <dsp:nvSpPr>
        <dsp:cNvPr id="0" name=""/>
        <dsp:cNvSpPr/>
      </dsp:nvSpPr>
      <dsp:spPr>
        <a:xfrm>
          <a:off x="506931" y="344854"/>
          <a:ext cx="5568603" cy="6900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74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Within VodafoneZiggo, employees can find information on policy, practices and systems through </a:t>
          </a:r>
          <a:r>
            <a:rPr lang="en-US" sz="1200" b="1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elf-service</a:t>
          </a:r>
          <a:r>
            <a:rPr lang="en-US" sz="1200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 or answers from a </a:t>
          </a:r>
          <a:r>
            <a:rPr lang="en-US" sz="1200" b="1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pecialist</a:t>
          </a:r>
          <a:r>
            <a:rPr lang="en-US" sz="1200" b="1" kern="1200">
              <a:latin typeface="Arial" panose="020B0604020202020204" pitchFamily="34" charset="0"/>
              <a:ea typeface="Calibri" panose="020F0502020204030204" pitchFamily="34" charset="0"/>
            </a:rPr>
            <a:t>.</a:t>
          </a:r>
          <a:endParaRPr lang="en-GB" sz="1200" kern="1200"/>
        </a:p>
      </dsp:txBody>
      <dsp:txXfrm>
        <a:off x="506931" y="344854"/>
        <a:ext cx="5568603" cy="690067"/>
      </dsp:txXfrm>
    </dsp:sp>
    <dsp:sp modelId="{5C932101-8EE1-3645-ADB2-B7B5CB148556}">
      <dsp:nvSpPr>
        <dsp:cNvPr id="0" name=""/>
        <dsp:cNvSpPr/>
      </dsp:nvSpPr>
      <dsp:spPr>
        <a:xfrm>
          <a:off x="75638" y="258596"/>
          <a:ext cx="862584" cy="862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982A6F-0843-BE48-91A2-59F2FABD0E92}">
      <dsp:nvSpPr>
        <dsp:cNvPr id="0" name=""/>
        <dsp:cNvSpPr/>
      </dsp:nvSpPr>
      <dsp:spPr>
        <a:xfrm>
          <a:off x="902562" y="1380135"/>
          <a:ext cx="5172971" cy="6900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74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>
              <a:effectLst/>
              <a:latin typeface="Arial" panose="020B0604020202020204" pitchFamily="34" charset="0"/>
              <a:ea typeface="Calibri" panose="020F0502020204030204" pitchFamily="34" charset="0"/>
            </a:rPr>
            <a:t>Finding information through these channels consumes </a:t>
          </a:r>
          <a:r>
            <a:rPr lang="en-US" sz="1200" b="1" u="sng" kern="1200">
              <a:effectLst/>
              <a:latin typeface="Arial" panose="020B0604020202020204" pitchFamily="34" charset="0"/>
              <a:ea typeface="Calibri" panose="020F0502020204030204" pitchFamily="34" charset="0"/>
            </a:rPr>
            <a:t>time</a:t>
          </a:r>
          <a:r>
            <a:rPr lang="en-US" sz="1200" kern="1200">
              <a:effectLst/>
              <a:latin typeface="Arial" panose="020B0604020202020204" pitchFamily="34" charset="0"/>
              <a:ea typeface="Calibri" panose="020F0502020204030204" pitchFamily="34" charset="0"/>
            </a:rPr>
            <a:t> for both employee</a:t>
          </a:r>
          <a:r>
            <a:rPr lang="en-NL" sz="1200" kern="1200">
              <a:effectLst/>
            </a:rPr>
            <a:t> and HR</a:t>
          </a:r>
        </a:p>
      </dsp:txBody>
      <dsp:txXfrm>
        <a:off x="902562" y="1380135"/>
        <a:ext cx="5172971" cy="690067"/>
      </dsp:txXfrm>
    </dsp:sp>
    <dsp:sp modelId="{70DEAD4E-5982-1A48-9264-2D35A1CAABDF}">
      <dsp:nvSpPr>
        <dsp:cNvPr id="0" name=""/>
        <dsp:cNvSpPr/>
      </dsp:nvSpPr>
      <dsp:spPr>
        <a:xfrm>
          <a:off x="471270" y="1293877"/>
          <a:ext cx="862584" cy="862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23602B-4E89-1E44-BFCB-A8B2ABA5EA6B}">
      <dsp:nvSpPr>
        <dsp:cNvPr id="0" name=""/>
        <dsp:cNvSpPr/>
      </dsp:nvSpPr>
      <dsp:spPr>
        <a:xfrm>
          <a:off x="902562" y="2415417"/>
          <a:ext cx="5172971" cy="6900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74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o reduce time spent by HR and employees on finding answers to HR-related questions and improve employee experience, </a:t>
          </a:r>
          <a:r>
            <a:rPr lang="en-US" sz="1200" b="1" kern="120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the ability to self-service in case of HR questions can be improved.</a:t>
          </a:r>
          <a:endParaRPr lang="en-NL" sz="1200" kern="1200">
            <a:effectLst/>
            <a:latin typeface="Arial" panose="020B0604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902562" y="2415417"/>
        <a:ext cx="5172971" cy="690067"/>
      </dsp:txXfrm>
    </dsp:sp>
    <dsp:sp modelId="{F8454C27-1426-E040-8241-689BC21060F2}">
      <dsp:nvSpPr>
        <dsp:cNvPr id="0" name=""/>
        <dsp:cNvSpPr/>
      </dsp:nvSpPr>
      <dsp:spPr>
        <a:xfrm>
          <a:off x="471270" y="2329158"/>
          <a:ext cx="862584" cy="862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0D2343-A351-0E4F-ABA9-E3F761CF7BE2}">
      <dsp:nvSpPr>
        <dsp:cNvPr id="0" name=""/>
        <dsp:cNvSpPr/>
      </dsp:nvSpPr>
      <dsp:spPr>
        <a:xfrm>
          <a:off x="506931" y="3450698"/>
          <a:ext cx="5568603" cy="6900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47741" tIns="30480" rIns="30480" bIns="3048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>
              <a:effectLst/>
              <a:latin typeface="Arial" panose="020B0604020202020204" pitchFamily="34" charset="0"/>
              <a:ea typeface="Calibri" panose="020F0502020204030204" pitchFamily="34" charset="0"/>
            </a:rPr>
            <a:t>In order to improve the ability to self-service, </a:t>
          </a:r>
          <a:r>
            <a:rPr lang="en-US" sz="1200" b="1" kern="1200">
              <a:effectLst/>
              <a:latin typeface="Arial" panose="020B0604020202020204" pitchFamily="34" charset="0"/>
              <a:ea typeface="Calibri" panose="020F0502020204030204" pitchFamily="34" charset="0"/>
            </a:rPr>
            <a:t>a chatbot solution is developed capable to answer questions about the employee journey</a:t>
          </a:r>
          <a:r>
            <a:rPr lang="en-NL" sz="1200" kern="1200">
              <a:effectLst/>
            </a:rPr>
            <a:t> correctly</a:t>
          </a:r>
          <a:endParaRPr lang="en-GB" sz="1200" kern="1200">
            <a:latin typeface="Arial" panose="020B0604020202020204" pitchFamily="34" charset="0"/>
          </a:endParaRPr>
        </a:p>
      </dsp:txBody>
      <dsp:txXfrm>
        <a:off x="506931" y="3450698"/>
        <a:ext cx="5568603" cy="690067"/>
      </dsp:txXfrm>
    </dsp:sp>
    <dsp:sp modelId="{B4FE2FD9-1BDA-5044-9B2D-5E9266E67582}">
      <dsp:nvSpPr>
        <dsp:cNvPr id="0" name=""/>
        <dsp:cNvSpPr/>
      </dsp:nvSpPr>
      <dsp:spPr>
        <a:xfrm>
          <a:off x="75638" y="3364440"/>
          <a:ext cx="862584" cy="86258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41442" cy="722392"/>
          </a:xfrm>
          <a:prstGeom prst="rect">
            <a:avLst/>
          </a:prstGeom>
        </p:spPr>
        <p:txBody>
          <a:bodyPr vert="horz" lIns="139800" tIns="69900" rIns="139800" bIns="69900" rtlCol="0"/>
          <a:lstStyle>
            <a:lvl1pPr algn="l">
              <a:defRPr sz="18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74953" y="1"/>
            <a:ext cx="4341442" cy="722392"/>
          </a:xfrm>
          <a:prstGeom prst="rect">
            <a:avLst/>
          </a:prstGeom>
        </p:spPr>
        <p:txBody>
          <a:bodyPr vert="horz" lIns="139800" tIns="69900" rIns="139800" bIns="69900" rtlCol="0"/>
          <a:lstStyle>
            <a:lvl1pPr algn="r">
              <a:defRPr sz="1800"/>
            </a:lvl1pPr>
          </a:lstStyle>
          <a:p>
            <a:fld id="{8A0F2356-0821-4F95-888C-BBFAA8449C1B}" type="datetimeFigureOut">
              <a:rPr lang="nl-NL" smtClean="0"/>
              <a:t>09-11-2023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13722939"/>
            <a:ext cx="4341442" cy="722392"/>
          </a:xfrm>
          <a:prstGeom prst="rect">
            <a:avLst/>
          </a:prstGeom>
        </p:spPr>
        <p:txBody>
          <a:bodyPr vert="horz" lIns="139800" tIns="69900" rIns="139800" bIns="69900" rtlCol="0" anchor="b"/>
          <a:lstStyle>
            <a:lvl1pPr algn="l">
              <a:defRPr sz="18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74953" y="13722939"/>
            <a:ext cx="4341442" cy="722392"/>
          </a:xfrm>
          <a:prstGeom prst="rect">
            <a:avLst/>
          </a:prstGeom>
        </p:spPr>
        <p:txBody>
          <a:bodyPr vert="horz" lIns="139800" tIns="69900" rIns="139800" bIns="69900" rtlCol="0" anchor="b"/>
          <a:lstStyle>
            <a:lvl1pPr algn="r">
              <a:defRPr sz="1800"/>
            </a:lvl1pPr>
          </a:lstStyle>
          <a:p>
            <a:fld id="{87881939-7CF3-4E01-B694-68285B55F13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23708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41442" cy="724901"/>
          </a:xfrm>
          <a:prstGeom prst="rect">
            <a:avLst/>
          </a:prstGeom>
        </p:spPr>
        <p:txBody>
          <a:bodyPr vert="horz" lIns="139800" tIns="69900" rIns="139800" bIns="69900" rtlCol="0"/>
          <a:lstStyle>
            <a:lvl1pPr algn="l" rtl="0">
              <a:defRPr sz="18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74953" y="1"/>
            <a:ext cx="4341442" cy="724901"/>
          </a:xfrm>
          <a:prstGeom prst="rect">
            <a:avLst/>
          </a:prstGeom>
        </p:spPr>
        <p:txBody>
          <a:bodyPr vert="horz" lIns="139800" tIns="69900" rIns="139800" bIns="69900" rtlCol="0"/>
          <a:lstStyle>
            <a:lvl1pPr algn="r" rtl="0">
              <a:defRPr sz="1800"/>
            </a:lvl1pPr>
          </a:lstStyle>
          <a:p>
            <a:fld id="{15E84912-508D-429A-97D2-FFCCB40D4C7D}" type="datetimeFigureOut">
              <a:rPr lang="en-GB" smtClean="0"/>
              <a:pPr/>
              <a:t>09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76275" y="1806575"/>
            <a:ext cx="8666163" cy="4875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800" tIns="69900" rIns="139800" bIns="6990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1872" y="6953023"/>
            <a:ext cx="8014970" cy="5688836"/>
          </a:xfrm>
          <a:prstGeom prst="rect">
            <a:avLst/>
          </a:prstGeom>
        </p:spPr>
        <p:txBody>
          <a:bodyPr vert="horz" lIns="139800" tIns="69900" rIns="139800" bIns="6990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3722940"/>
            <a:ext cx="4341442" cy="724900"/>
          </a:xfrm>
          <a:prstGeom prst="rect">
            <a:avLst/>
          </a:prstGeom>
        </p:spPr>
        <p:txBody>
          <a:bodyPr vert="horz" lIns="139800" tIns="69900" rIns="139800" bIns="69900" rtlCol="0" anchor="b"/>
          <a:lstStyle>
            <a:lvl1pPr algn="l" rtl="0">
              <a:defRPr sz="18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74953" y="13722940"/>
            <a:ext cx="4341442" cy="724900"/>
          </a:xfrm>
          <a:prstGeom prst="rect">
            <a:avLst/>
          </a:prstGeom>
        </p:spPr>
        <p:txBody>
          <a:bodyPr vert="horz" lIns="139800" tIns="69900" rIns="139800" bIns="69900" rtlCol="0" anchor="b"/>
          <a:lstStyle>
            <a:lvl1pPr algn="r" rtl="0">
              <a:defRPr sz="1800"/>
            </a:lvl1pPr>
          </a:lstStyle>
          <a:p>
            <a:fld id="{8238EB61-8AB7-472B-BFE2-270E15918AB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23613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AI:</a:t>
            </a:r>
          </a:p>
          <a:p>
            <a:pPr marL="228600" indent="-228600">
              <a:buFont typeface="+mj-lt"/>
              <a:buAutoNum type="arabicPeriod"/>
            </a:pPr>
            <a:r>
              <a:rPr lang="nl-NL" err="1"/>
              <a:t>Introduction</a:t>
            </a:r>
            <a:endParaRPr lang="nl-NL"/>
          </a:p>
          <a:p>
            <a:pPr marL="228600" indent="-228600">
              <a:buFont typeface="+mj-lt"/>
              <a:buAutoNum type="arabicPeriod"/>
            </a:pPr>
            <a:r>
              <a:rPr lang="nl-NL" err="1"/>
              <a:t>Mention</a:t>
            </a:r>
            <a:r>
              <a:rPr lang="nl-NL"/>
              <a:t> </a:t>
            </a:r>
            <a:r>
              <a:rPr lang="nl-NL" err="1"/>
              <a:t>that</a:t>
            </a:r>
            <a:r>
              <a:rPr lang="nl-NL"/>
              <a:t> AI is </a:t>
            </a:r>
            <a:r>
              <a:rPr lang="nl-NL" err="1"/>
              <a:t>evolving</a:t>
            </a:r>
            <a:r>
              <a:rPr lang="nl-NL"/>
              <a:t> </a:t>
            </a:r>
            <a:r>
              <a:rPr lang="nl-NL" err="1"/>
              <a:t>fast</a:t>
            </a:r>
            <a:endParaRPr lang="nl-NL"/>
          </a:p>
          <a:p>
            <a:pPr marL="685800" lvl="1" indent="-228600">
              <a:buFont typeface="+mj-lt"/>
              <a:buAutoNum type="arabicPeriod"/>
            </a:pPr>
            <a:r>
              <a:rPr lang="nl-NL" err="1"/>
              <a:t>Some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mention</a:t>
            </a:r>
            <a:r>
              <a:rPr lang="nl-NL"/>
              <a:t>:</a:t>
            </a:r>
          </a:p>
          <a:p>
            <a:pPr marL="1143000" lvl="2" indent="-228600">
              <a:buFont typeface="+mj-lt"/>
              <a:buAutoNum type="arabicPeriod"/>
            </a:pPr>
            <a:r>
              <a:rPr lang="nl-NL"/>
              <a:t>Machine Learning</a:t>
            </a:r>
          </a:p>
          <a:p>
            <a:pPr marL="1143000" lvl="2" indent="-228600">
              <a:buFont typeface="+mj-lt"/>
              <a:buAutoNum type="arabicPeriod"/>
            </a:pPr>
            <a:r>
              <a:rPr lang="nl-NL"/>
              <a:t>Image </a:t>
            </a:r>
            <a:r>
              <a:rPr lang="nl-NL" err="1"/>
              <a:t>recognition</a:t>
            </a:r>
            <a:endParaRPr lang="nl-NL"/>
          </a:p>
          <a:p>
            <a:pPr marL="1143000" lvl="2" indent="-228600">
              <a:buFont typeface="+mj-lt"/>
              <a:buAutoNum type="arabicPeriod"/>
            </a:pPr>
            <a:r>
              <a:rPr lang="nl-NL"/>
              <a:t>Large Language </a:t>
            </a:r>
            <a:r>
              <a:rPr lang="nl-NL" err="1"/>
              <a:t>models</a:t>
            </a:r>
            <a:r>
              <a:rPr lang="nl-NL"/>
              <a:t> (like GPT)</a:t>
            </a:r>
          </a:p>
          <a:p>
            <a:pPr marL="1143000" lvl="2" indent="-228600">
              <a:buFont typeface="+mj-lt"/>
              <a:buAutoNum type="arabicPeriod"/>
            </a:pPr>
            <a:r>
              <a:rPr lang="nl-NL" err="1"/>
              <a:t>Recommendation</a:t>
            </a:r>
            <a:r>
              <a:rPr lang="nl-NL"/>
              <a:t> systems</a:t>
            </a:r>
          </a:p>
          <a:p>
            <a:pPr marL="1143000" lvl="2" indent="-228600">
              <a:buFont typeface="+mj-lt"/>
              <a:buAutoNum type="arabicPeriod"/>
            </a:pPr>
            <a:r>
              <a:rPr lang="nl-NL" err="1"/>
              <a:t>Preventive</a:t>
            </a:r>
            <a:r>
              <a:rPr lang="nl-NL"/>
              <a:t> maintenance </a:t>
            </a:r>
          </a:p>
          <a:p>
            <a:pPr marL="228600" indent="-228600">
              <a:buFont typeface="+mj-lt"/>
              <a:buAutoNum type="arabicPeriod"/>
            </a:pPr>
            <a:r>
              <a:rPr lang="nl-NL" err="1"/>
              <a:t>Optionally</a:t>
            </a:r>
            <a:r>
              <a:rPr lang="nl-NL"/>
              <a:t>: </a:t>
            </a:r>
            <a:r>
              <a:rPr lang="nl-NL" err="1"/>
              <a:t>ask</a:t>
            </a:r>
            <a:r>
              <a:rPr lang="nl-NL"/>
              <a:t> </a:t>
            </a:r>
            <a:r>
              <a:rPr lang="nl-NL" err="1"/>
              <a:t>what</a:t>
            </a:r>
            <a:r>
              <a:rPr lang="nl-NL"/>
              <a:t> </a:t>
            </a:r>
            <a:r>
              <a:rPr lang="nl-NL" err="1"/>
              <a:t>people</a:t>
            </a:r>
            <a:r>
              <a:rPr lang="nl-NL"/>
              <a:t> </a:t>
            </a:r>
            <a:r>
              <a:rPr lang="nl-NL" err="1"/>
              <a:t>think</a:t>
            </a:r>
            <a:r>
              <a:rPr lang="nl-NL"/>
              <a:t> off </a:t>
            </a:r>
            <a:r>
              <a:rPr lang="nl-NL" err="1"/>
              <a:t>with</a:t>
            </a:r>
            <a:r>
              <a:rPr lang="nl-NL"/>
              <a:t> AI </a:t>
            </a:r>
            <a:r>
              <a:rPr lang="nl-NL" err="1"/>
              <a:t>and</a:t>
            </a:r>
            <a:r>
              <a:rPr lang="nl-NL"/>
              <a:t> put </a:t>
            </a:r>
            <a:r>
              <a:rPr lang="nl-NL" err="1"/>
              <a:t>it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hat.</a:t>
            </a:r>
          </a:p>
          <a:p>
            <a:pPr marL="685800" lvl="1" indent="-228600">
              <a:buFont typeface="+mj-lt"/>
              <a:buAutoNum type="arabicPeriod"/>
            </a:pPr>
            <a:r>
              <a:rPr lang="nl-NL" err="1"/>
              <a:t>Mention</a:t>
            </a:r>
            <a:r>
              <a:rPr lang="nl-NL"/>
              <a:t> </a:t>
            </a:r>
            <a:r>
              <a:rPr lang="nl-NL" err="1"/>
              <a:t>som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topics.</a:t>
            </a:r>
          </a:p>
          <a:p>
            <a:pPr marL="228600" lvl="0" indent="-228600">
              <a:buFont typeface="+mj-lt"/>
              <a:buAutoNum type="arabicPeriod"/>
            </a:pPr>
            <a:r>
              <a:rPr lang="nl-NL" err="1"/>
              <a:t>Conclusion</a:t>
            </a:r>
            <a:r>
              <a:rPr lang="nl-NL"/>
              <a:t>:</a:t>
            </a:r>
          </a:p>
          <a:p>
            <a:pPr marL="685800" lvl="1" indent="-228600">
              <a:buFont typeface="+mj-lt"/>
              <a:buAutoNum type="arabicPeriod"/>
            </a:pPr>
            <a:r>
              <a:rPr lang="nl-NL" err="1"/>
              <a:t>We’re</a:t>
            </a:r>
            <a:r>
              <a:rPr lang="nl-NL"/>
              <a:t> more </a:t>
            </a:r>
            <a:r>
              <a:rPr lang="nl-NL" err="1"/>
              <a:t>and</a:t>
            </a:r>
            <a:r>
              <a:rPr lang="nl-NL"/>
              <a:t> more </a:t>
            </a:r>
            <a:r>
              <a:rPr lang="nl-NL" err="1"/>
              <a:t>aware</a:t>
            </a:r>
            <a:r>
              <a:rPr lang="nl-NL"/>
              <a:t> of AI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use</a:t>
            </a:r>
            <a:r>
              <a:rPr lang="nl-NL"/>
              <a:t> of </a:t>
            </a:r>
            <a:r>
              <a:rPr lang="nl-NL" err="1"/>
              <a:t>models</a:t>
            </a:r>
            <a:endParaRPr lang="nl-NL"/>
          </a:p>
          <a:p>
            <a:pPr marL="685800" lvl="1" indent="-228600">
              <a:buFont typeface="+mj-lt"/>
              <a:buAutoNum type="arabicPeriod"/>
            </a:pPr>
            <a:r>
              <a:rPr lang="nl-NL"/>
              <a:t>AI </a:t>
            </a:r>
            <a:r>
              <a:rPr lang="nl-NL" err="1"/>
              <a:t>models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 tools </a:t>
            </a:r>
            <a:r>
              <a:rPr lang="nl-NL" err="1"/>
              <a:t>become</a:t>
            </a:r>
            <a:r>
              <a:rPr lang="nl-NL"/>
              <a:t> more </a:t>
            </a:r>
            <a:r>
              <a:rPr lang="nl-NL" err="1"/>
              <a:t>and</a:t>
            </a:r>
            <a:r>
              <a:rPr lang="nl-NL"/>
              <a:t> more </a:t>
            </a:r>
            <a:r>
              <a:rPr lang="nl-NL" err="1"/>
              <a:t>accessible</a:t>
            </a:r>
            <a:endParaRPr lang="nl-NL"/>
          </a:p>
          <a:p>
            <a:pPr marL="685800" lvl="1" indent="-228600">
              <a:buFont typeface="+mj-lt"/>
              <a:buAutoNum type="arabicPeriod"/>
            </a:pPr>
            <a:r>
              <a:rPr lang="nl-NL"/>
              <a:t>The question is: </a:t>
            </a:r>
            <a:r>
              <a:rPr lang="nl-NL" err="1"/>
              <a:t>how</a:t>
            </a:r>
            <a:r>
              <a:rPr lang="nl-NL"/>
              <a:t> </a:t>
            </a:r>
            <a:r>
              <a:rPr lang="nl-NL" err="1"/>
              <a:t>can</a:t>
            </a:r>
            <a:r>
              <a:rPr lang="nl-NL"/>
              <a:t> we </a:t>
            </a:r>
            <a:r>
              <a:rPr lang="nl-NL" err="1"/>
              <a:t>use</a:t>
            </a:r>
            <a:r>
              <a:rPr lang="nl-NL"/>
              <a:t> it. </a:t>
            </a:r>
          </a:p>
          <a:p>
            <a:pPr marL="685800" lvl="1" indent="-228600">
              <a:buFont typeface="+mj-lt"/>
              <a:buAutoNum type="arabicPeriod"/>
            </a:pPr>
            <a:r>
              <a:rPr lang="nl-NL" err="1"/>
              <a:t>This</a:t>
            </a:r>
            <a:r>
              <a:rPr lang="nl-NL"/>
              <a:t> is a </a:t>
            </a:r>
            <a:r>
              <a:rPr lang="nl-NL" err="1"/>
              <a:t>very</a:t>
            </a:r>
            <a:r>
              <a:rPr lang="nl-NL"/>
              <a:t> hot topic in </a:t>
            </a:r>
            <a:r>
              <a:rPr lang="nl-NL" err="1"/>
              <a:t>the</a:t>
            </a:r>
            <a:r>
              <a:rPr lang="nl-NL"/>
              <a:t> </a:t>
            </a:r>
            <a:r>
              <a:rPr lang="nl-NL" err="1"/>
              <a:t>world</a:t>
            </a:r>
            <a:r>
              <a:rPr lang="nl-NL"/>
              <a:t>, </a:t>
            </a:r>
            <a:r>
              <a:rPr lang="nl-NL" err="1"/>
              <a:t>and</a:t>
            </a:r>
            <a:r>
              <a:rPr lang="nl-NL"/>
              <a:t> we </a:t>
            </a:r>
            <a:r>
              <a:rPr lang="nl-NL" err="1"/>
              <a:t>can</a:t>
            </a:r>
            <a:r>
              <a:rPr lang="nl-NL"/>
              <a:t> get </a:t>
            </a:r>
            <a:r>
              <a:rPr lang="nl-NL" err="1"/>
              <a:t>into</a:t>
            </a:r>
            <a:r>
              <a:rPr lang="nl-NL"/>
              <a:t> </a:t>
            </a:r>
            <a:r>
              <a:rPr lang="nl-NL" err="1"/>
              <a:t>discussions</a:t>
            </a:r>
            <a:r>
              <a:rPr lang="nl-NL"/>
              <a:t> on a </a:t>
            </a:r>
            <a:r>
              <a:rPr lang="nl-NL" err="1"/>
              <a:t>very</a:t>
            </a:r>
            <a:r>
              <a:rPr lang="nl-NL"/>
              <a:t> high level </a:t>
            </a:r>
            <a:r>
              <a:rPr lang="nl-NL" err="1"/>
              <a:t>talking</a:t>
            </a:r>
            <a:r>
              <a:rPr lang="nl-NL"/>
              <a:t> </a:t>
            </a:r>
            <a:r>
              <a:rPr lang="nl-NL" err="1"/>
              <a:t>defentions</a:t>
            </a:r>
            <a:r>
              <a:rPr lang="nl-NL"/>
              <a:t> </a:t>
            </a:r>
            <a:r>
              <a:rPr lang="nl-NL" err="1"/>
              <a:t>and</a:t>
            </a:r>
            <a:r>
              <a:rPr lang="nl-NL"/>
              <a:t>/or </a:t>
            </a:r>
            <a:r>
              <a:rPr lang="nl-NL" err="1"/>
              <a:t>risks</a:t>
            </a:r>
            <a:r>
              <a:rPr lang="nl-NL"/>
              <a:t>. </a:t>
            </a:r>
          </a:p>
          <a:p>
            <a:pPr marL="685800" lvl="1" indent="-228600">
              <a:buFont typeface="+mj-lt"/>
              <a:buAutoNum type="arabicPeriod"/>
            </a:pPr>
            <a:r>
              <a:rPr lang="nl-NL" err="1"/>
              <a:t>However</a:t>
            </a:r>
            <a:r>
              <a:rPr lang="nl-NL"/>
              <a:t> </a:t>
            </a:r>
            <a:r>
              <a:rPr lang="nl-NL" err="1"/>
              <a:t>today</a:t>
            </a:r>
            <a:r>
              <a:rPr lang="nl-NL"/>
              <a:t>, we </a:t>
            </a:r>
            <a:r>
              <a:rPr lang="nl-NL" err="1"/>
              <a:t>would</a:t>
            </a:r>
            <a:r>
              <a:rPr lang="nl-NL"/>
              <a:t> like </a:t>
            </a:r>
            <a:r>
              <a:rPr lang="nl-NL" err="1"/>
              <a:t>to</a:t>
            </a:r>
            <a:r>
              <a:rPr lang="nl-NL"/>
              <a:t> focus on </a:t>
            </a:r>
            <a:r>
              <a:rPr lang="nl-NL" err="1"/>
              <a:t>what</a:t>
            </a:r>
            <a:r>
              <a:rPr lang="nl-NL"/>
              <a:t> </a:t>
            </a:r>
            <a:r>
              <a:rPr lang="nl-NL" err="1"/>
              <a:t>it</a:t>
            </a:r>
            <a:r>
              <a:rPr lang="nl-NL"/>
              <a:t> is </a:t>
            </a:r>
            <a:r>
              <a:rPr lang="nl-NL" err="1"/>
              <a:t>and</a:t>
            </a:r>
            <a:r>
              <a:rPr lang="nl-NL"/>
              <a:t> </a:t>
            </a:r>
            <a:r>
              <a:rPr lang="nl-NL" err="1"/>
              <a:t>how</a:t>
            </a:r>
            <a:r>
              <a:rPr lang="nl-NL"/>
              <a:t> we </a:t>
            </a:r>
            <a:r>
              <a:rPr lang="nl-NL" err="1"/>
              <a:t>use</a:t>
            </a:r>
            <a:r>
              <a:rPr lang="nl-NL"/>
              <a:t> </a:t>
            </a:r>
            <a:r>
              <a:rPr lang="nl-NL" err="1"/>
              <a:t>it</a:t>
            </a:r>
            <a:r>
              <a:rPr lang="nl-NL"/>
              <a:t> </a:t>
            </a:r>
            <a:r>
              <a:rPr lang="nl-NL" err="1"/>
              <a:t>within</a:t>
            </a:r>
            <a:r>
              <a:rPr lang="nl-NL"/>
              <a:t> VodafoneZiggo. </a:t>
            </a:r>
          </a:p>
          <a:p>
            <a:pPr marL="685800" lvl="1" indent="-228600">
              <a:buFont typeface="+mj-lt"/>
              <a:buAutoNum type="arabicPeriod"/>
            </a:pPr>
            <a:r>
              <a:rPr lang="nl-NL"/>
              <a:t>We hope </a:t>
            </a:r>
            <a:r>
              <a:rPr lang="nl-NL" err="1"/>
              <a:t>it</a:t>
            </a:r>
            <a:r>
              <a:rPr lang="nl-NL"/>
              <a:t> </a:t>
            </a:r>
            <a:r>
              <a:rPr lang="nl-NL" err="1"/>
              <a:t>makes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 </a:t>
            </a:r>
            <a:r>
              <a:rPr lang="nl-NL" err="1"/>
              <a:t>think</a:t>
            </a:r>
            <a:r>
              <a:rPr lang="nl-NL"/>
              <a:t> </a:t>
            </a:r>
            <a:r>
              <a:rPr lang="nl-NL" err="1"/>
              <a:t>how</a:t>
            </a:r>
            <a:r>
              <a:rPr lang="nl-NL"/>
              <a:t> make data </a:t>
            </a:r>
            <a:r>
              <a:rPr lang="nl-NL" err="1"/>
              <a:t>work</a:t>
            </a:r>
            <a:r>
              <a:rPr lang="nl-NL"/>
              <a:t>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you</a:t>
            </a:r>
            <a:r>
              <a:rPr lang="nl-NL"/>
              <a:t>. </a:t>
            </a:r>
          </a:p>
          <a:p>
            <a:pPr marL="228600" indent="-228600">
              <a:buFont typeface="+mj-lt"/>
              <a:buAutoNum type="arabicPeriod"/>
            </a:pPr>
            <a:endParaRPr lang="nl-NL"/>
          </a:p>
          <a:p>
            <a:pPr marL="685800" lvl="1" indent="-228600">
              <a:buFont typeface="+mj-lt"/>
              <a:buAutoNum type="arabicPeriod"/>
            </a:pPr>
            <a:endParaRPr lang="nl-NL"/>
          </a:p>
          <a:p>
            <a:pPr marL="0" indent="0">
              <a:buFont typeface="+mj-lt"/>
              <a:buNone/>
            </a:pPr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8EB61-8AB7-472B-BFE2-270E15918AB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836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9CAF-046B-48F4-BCE7-6937C7EE1DD8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267111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84D2DC-3FC5-4E52-BC3C-F270F11FE1C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1213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84D2DC-3FC5-4E52-BC3C-F270F11FE1C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0884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9CAF-046B-48F4-BCE7-6937C7EE1DD8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1335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BAA02-E7BF-4B0A-971A-F83A7D7E18F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3161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980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575F35-7ED9-4CD7-B1DE-E58FCED99A0E}" type="slidenum"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980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2103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979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C40F5-81B7-4AE6-A059-F74579A5BD17}" type="slidenum"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979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205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3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4" Type="http://schemas.openxmlformats.org/officeDocument/2006/relationships/image" Target="../media/image1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54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7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8.xml"/><Relationship Id="rId4" Type="http://schemas.openxmlformats.org/officeDocument/2006/relationships/image" Target="../media/image13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1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2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3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4" Type="http://schemas.openxmlformats.org/officeDocument/2006/relationships/image" Target="../media/image13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6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4.emf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0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0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5.png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20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hyperlink" Target="https://brandportal.vodafoneziggo.nl/document/37/collection/153" TargetMode="External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20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0.png"/><Relationship Id="rId4" Type="http://schemas.openxmlformats.org/officeDocument/2006/relationships/hyperlink" Target="https://brandportal.vodafoneziggo.nl/document/37/collection/153" TargetMode="Externa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31.svg"/><Relationship Id="rId4" Type="http://schemas.openxmlformats.org/officeDocument/2006/relationships/image" Target="../media/image11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5.png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5" Type="http://schemas.openxmlformats.org/officeDocument/2006/relationships/hyperlink" Target="https://brandportal.vodafoneziggo.nl/document/37/collection/153" TargetMode="External"/><Relationship Id="rId4" Type="http://schemas.openxmlformats.org/officeDocument/2006/relationships/image" Target="../media/image28.jpe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6" Type="http://schemas.openxmlformats.org/officeDocument/2006/relationships/hyperlink" Target="https://brandportal.vodafoneziggo.nl/document/37/collection/153" TargetMode="Externa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Light">
    <p:bg>
      <p:bgPr>
        <a:blipFill dpi="0" rotWithShape="1">
          <a:blip r:embed="rId3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6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C82BB62-143E-47FD-8824-9B55D3C8633C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bg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vert="horz" wrap="square" anchor="b" anchorCtr="0"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 rtl="0"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CC70EB95-E18C-4DD8-8F54-BAC18F14BB23}" type="datetime4">
              <a:rPr lang="en-GB" smtClean="0"/>
              <a:pPr/>
              <a:t>9 November 2023</a:t>
            </a:fld>
            <a:endParaRPr lang="en-GB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0" name="MSIPCMContentMarking" descr="{&quot;HashCode&quot;:353844856,&quot;Placement&quot;:&quot;Footer&quot;}">
            <a:extLst>
              <a:ext uri="{FF2B5EF4-FFF2-40B4-BE49-F238E27FC236}">
                <a16:creationId xmlns:a16="http://schemas.microsoft.com/office/drawing/2014/main" id="{AC45B808-94BE-49CA-92D6-0AFC14A6E800}"/>
              </a:ext>
            </a:extLst>
          </p:cNvPr>
          <p:cNvSpPr txBox="1"/>
          <p:nvPr userDrawn="1"/>
        </p:nvSpPr>
        <p:spPr>
          <a:xfrm>
            <a:off x="322729" y="6519621"/>
            <a:ext cx="1426091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chemeClr val="bg1"/>
                </a:solidFill>
                <a:latin typeface="+mj-lt"/>
              </a:rPr>
              <a:t>C2 VodafoneZiggo Internal</a:t>
            </a:r>
          </a:p>
        </p:txBody>
      </p:sp>
    </p:spTree>
    <p:extLst>
      <p:ext uri="{BB962C8B-B14F-4D97-AF65-F5344CB8AC3E}">
        <p14:creationId xmlns:p14="http://schemas.microsoft.com/office/powerpoint/2010/main" val="15961189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4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58E6013-E68D-494F-8409-F3E089CE84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94956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636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54243C1B-3F0C-45F0-860B-16E454AE411E}" type="datetimeFigureOut">
              <a:rPr lang="nl-NL" smtClean="0"/>
              <a:t>09-11-20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132005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873AD7-64A7-4230-B75E-29727A8567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326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873AD7-64A7-4230-B75E-29727A856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8353AD-D1C3-4975-9AB5-5C26FC198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resentation title here</a:t>
            </a:r>
            <a:br>
              <a:rPr lang="en-US"/>
            </a:br>
            <a:r>
              <a:rPr lang="en-US"/>
              <a:t>It can be 2 lines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49D9E5-2E0A-4328-A1E5-866E9639D261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E1C3D7D-B103-4CB4-92CD-29DD9851E516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" name="Afbeelding 9">
              <a:extLst>
                <a:ext uri="{FF2B5EF4-FFF2-40B4-BE49-F238E27FC236}">
                  <a16:creationId xmlns:a16="http://schemas.microsoft.com/office/drawing/2014/main" id="{212B14CA-F4E6-4D57-99BA-D781EA1924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9469197-ED27-4366-8F87-4203D3DF8D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57326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C3188E2-35E4-4AF8-8A00-DDB83F5F6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071563"/>
            <a:ext cx="11277600" cy="508249"/>
          </a:xfrm>
        </p:spPr>
        <p:txBody>
          <a:bodyPr anchor="ctr"/>
          <a:lstStyle>
            <a:lvl1pPr rtl="0">
              <a:defRPr sz="1600" b="1" cap="all" baseline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4021632A-127F-4177-84C7-6CE4D0FF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27" name="Tekstvak 11">
            <a:extLst>
              <a:ext uri="{FF2B5EF4-FFF2-40B4-BE49-F238E27FC236}">
                <a16:creationId xmlns:a16="http://schemas.microsoft.com/office/drawing/2014/main" id="{AC374550-88B2-4BE5-A98C-08F55DCADC8F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05187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065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10361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996034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378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ADC4CBB-BF49-4B73-988C-ECCDD035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C643677-D14B-495B-A606-261D1D02A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508678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3315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0FC27A1-3A95-4F2E-8F1B-9CB3FA01C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DCF2CE51-22A3-4807-A8BE-E0886C327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02569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903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2838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03B2EF9B-0CB0-4078-B0D9-E34478B9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003006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91C6CE-FB16-4475-8C8F-C59AD6C7AF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79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91C6CE-FB16-4475-8C8F-C59AD6C7A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E4AF05-ED52-4ADF-82E5-088DC5891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DFE54BD-049E-44B6-86CE-265C343F13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34B1B8-D20E-485A-AB8F-03E7EEF66935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139D4A2-432D-4656-A6DF-60B3BDFE01F8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5E779B53-31D5-4F6F-ADDF-B91F8DE6E0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346E0418-56D3-411F-9C2C-682664018B6B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A52504E-8196-4421-9589-45A4A9E6057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68151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03B11DF-D841-4BE8-876C-8A98232CE15A}"/>
              </a:ext>
            </a:extLst>
          </p:cNvPr>
          <p:cNvSpPr txBox="1">
            <a:spLocks/>
          </p:cNvSpPr>
          <p:nvPr/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l-NL"/>
            </a:defPPr>
            <a:lvl1pPr marL="0" algn="l" defTabSz="914377" rtl="0" eaLnBrk="1" latinLnBrk="0" hangingPunct="1">
              <a:buFont typeface="+mj-lt"/>
              <a:buAutoNum type="arabicPeriod"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marR="0" lvl="0" indent="-1778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177800" algn="l"/>
              </a:tabLst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282687372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7369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58E6013-E68D-494F-8409-F3E089CE84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27612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3484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7B878B2-4277-4973-BAAB-A850AFBDF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025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868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D52B0C8F-0381-4290-9CA3-CE76CB001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90321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820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7B878B2-4277-4973-BAAB-A850AFBDF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96874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UBTITLES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57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3B0DCB4E-7FEC-451F-9BEF-2E97D61B0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71815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CONTENT 01 - Light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0573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FE92D3B5-6626-4E7E-8C4C-1184A57CE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123319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307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kstvak 11">
            <a:extLst>
              <a:ext uri="{FF2B5EF4-FFF2-40B4-BE49-F238E27FC236}">
                <a16:creationId xmlns:a16="http://schemas.microsoft.com/office/drawing/2014/main" id="{9CB6234C-2AC2-4EFF-ABD6-9240BE0FC15A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B45CC0-D0CE-49F1-855D-664A05487BF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28775"/>
            <a:ext cx="5386389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62AEED-97B3-49B2-BF24-9C982FEB9B4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8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75A7128-08D8-42B4-83FF-B646B71091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4389065-FE70-49CD-B20F-FE82AE6B7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E89D009-F21B-4391-A1BA-63604A0481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727E7BE-1E5F-4ED9-A4F1-A15194E402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A545819-24A1-4330-A4A5-BD2885B83275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4097943-5B7E-4362-8FB6-589B05AA8F94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0" name="Afbeelding 9">
              <a:extLst>
                <a:ext uri="{FF2B5EF4-FFF2-40B4-BE49-F238E27FC236}">
                  <a16:creationId xmlns:a16="http://schemas.microsoft.com/office/drawing/2014/main" id="{B0521A80-FB78-400F-AE83-B37979B18C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358210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TEXT -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953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108E9FA-D8DC-4A6B-BDDA-E6F881599E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9C81E3-BC4D-4379-B8F1-D5C86AF7C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010911-4D7D-45EF-8FDD-494D60D14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995791A-2285-4940-AC88-E8EDF9AF67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4" y="1629189"/>
            <a:ext cx="5388874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8FE89DF-053C-40EA-9AAA-D56E65C11A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29189"/>
            <a:ext cx="5386386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61662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TEXT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902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655455C3-4E25-4B89-A91E-C435EB338555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454AD0-9205-4B71-A4BF-B11E80E3D6E0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DFF6254B-D3C0-4D46-8BC8-6745A38DCC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77C52333-BC06-411D-82F2-832BC4C64C82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BFDB805-DA5D-4A67-988D-CFB27E0B75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1636120"/>
            <a:ext cx="5388872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DE01AF-544C-4C31-83C0-3F56D5DB7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36120"/>
            <a:ext cx="5386386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8237F11-032E-4588-9D31-AE81739EA0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79559FD-8348-496C-9346-81BA6DD97A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514F2A6-215D-41FE-94C0-393561A0F0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D79539D-49D6-4B8E-A7C2-250E47704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390194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610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370799" y="1628775"/>
            <a:ext cx="5364000" cy="4572000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 rtl="0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4714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endParaRPr lang="nl-NL"/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96746F5B-9A52-4437-A30B-6C4FC9398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55039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711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75DC6AA-8A89-4060-B1E0-BB76B82C1900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B2B1EF-C0F0-422A-94CD-EE9C8E07999E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455A3A6B-4D46-4400-AA93-A7D5331669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8E2F52D-7228-4ED8-B064-614EAB78A2F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4"/>
            <a:ext cx="5386388" cy="456815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E332D5B3-12B8-451D-8F5D-EDFE57AF5154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C8728AF-07FB-42D7-9C42-F9B9A4F1C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6861D46-2F88-4794-8BEA-3C46E5DBF7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8412" y="1628774"/>
            <a:ext cx="5386388" cy="4568151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50580F1-FA36-426D-809D-62D471D118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783302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65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2930402"/>
            <a:ext cx="3008376" cy="997196"/>
          </a:xfrm>
        </p:spPr>
        <p:txBody>
          <a:bodyPr vert="horz" anchor="ctr"/>
          <a:lstStyle>
            <a:lvl1pPr algn="ctr" rtl="0">
              <a:defRPr sz="3600" cap="none"/>
            </a:lvl1pPr>
          </a:lstStyle>
          <a:p>
            <a:r>
              <a:rPr lang="en-GB"/>
              <a:t>Click to add  text</a:t>
            </a:r>
          </a:p>
        </p:txBody>
      </p:sp>
    </p:spTree>
    <p:extLst>
      <p:ext uri="{BB962C8B-B14F-4D97-AF65-F5344CB8AC3E}">
        <p14:creationId xmlns:p14="http://schemas.microsoft.com/office/powerpoint/2010/main" val="256877785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887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vert="horz" wrap="square">
            <a:noAutofit/>
          </a:bodyPr>
          <a:lstStyle>
            <a:lvl1pPr algn="ctr" rtl="0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8072133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DC5A1BE-7177-4533-8123-096D246F1A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4945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5DC5A1BE-7177-4533-8123-096D246F1A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8F6F8B-0B24-4857-A7D5-74574141CF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70C280E-83C1-4B88-9D81-9108BDCAD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84"/>
            <a:ext cx="11277600" cy="407815"/>
          </a:xfrm>
        </p:spPr>
        <p:txBody>
          <a:bodyPr vert="horz" anchor="b" anchorCtr="0"/>
          <a:lstStyle>
            <a:lvl1pPr algn="l" rtl="0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FB0EB6E-C35F-4329-A648-FF86C683E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046128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757B8D-D566-4381-959E-E24594369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2537477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F287BEC-C30B-412E-8960-32EA6ED268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7026" y="3028826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52C0F7-7E39-4148-93C8-7DB66454C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046128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9193003-ED9A-4F34-A698-ECC0478905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2537477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38C413C-9F41-406D-B8EE-CE0985CC3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3975" y="3028826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67EEC7-6311-42B5-9675-0401F5BBE5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3520175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54AD25F-31DF-4709-B669-07DEDC282A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011524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5E2C3B7-C587-440D-A3F2-1BADFF763F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7026" y="4502873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7F9B618-FA30-41A4-8957-E196C096A4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3520175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643C015-80C0-49F7-9E10-C3B23E5FCB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011524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2586B7E-50E7-4F35-B3A2-A29929CC0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3975" y="4502873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29690202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94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D52B0C8F-0381-4290-9CA3-CE76CB001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901885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6324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vert="horz" wrap="square" anchor="b" anchorCtr="0">
            <a:noAutofit/>
          </a:bodyPr>
          <a:lstStyle>
            <a:lvl1pPr algn="ctr" rtl="0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insert your </a:t>
            </a:r>
            <a:br>
              <a:rPr lang="en-GB"/>
            </a:br>
            <a:r>
              <a:rPr lang="en-GB"/>
              <a:t>closing title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1493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8805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BECC687-C6BD-4896-B929-52794798B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6AA9EF-D68C-4019-B888-E19A7324EA3A}"/>
              </a:ext>
            </a:extLst>
          </p:cNvPr>
          <p:cNvGrpSpPr/>
          <p:nvPr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23A6F5-4908-47D3-94F2-FAE559FF39FA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" name="Afbeelding 9">
              <a:extLst>
                <a:ext uri="{FF2B5EF4-FFF2-40B4-BE49-F238E27FC236}">
                  <a16:creationId xmlns:a16="http://schemas.microsoft.com/office/drawing/2014/main" id="{27374FCE-B885-4691-A555-30080E9CD7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0" name="Tekstvak 11">
            <a:extLst>
              <a:ext uri="{FF2B5EF4-FFF2-40B4-BE49-F238E27FC236}">
                <a16:creationId xmlns:a16="http://schemas.microsoft.com/office/drawing/2014/main" id="{21A2C087-8A2A-4514-A948-ECA532594ED3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9982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083362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7D530-BDE9-4DCC-8BF9-CB73DA459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BD260-8975-45F5-B203-3CFCF5AB5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/>
            </a:lvl1pPr>
            <a:lvl2pPr>
              <a:lnSpc>
                <a:spcPct val="112000"/>
              </a:lnSpc>
              <a:spcAft>
                <a:spcPts val="600"/>
              </a:spcAft>
              <a:defRPr/>
            </a:lvl2pPr>
            <a:lvl3pPr>
              <a:lnSpc>
                <a:spcPct val="112000"/>
              </a:lnSpc>
              <a:spcAft>
                <a:spcPts val="600"/>
              </a:spcAft>
              <a:defRPr/>
            </a:lvl3pPr>
            <a:lvl4pPr>
              <a:lnSpc>
                <a:spcPct val="112000"/>
              </a:lnSpc>
              <a:spcAft>
                <a:spcPts val="600"/>
              </a:spcAft>
              <a:defRPr/>
            </a:lvl4pPr>
            <a:lvl5pPr>
              <a:lnSpc>
                <a:spcPct val="112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A103E3-9AA1-44F5-9411-A2B448AE5B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35216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6" t="104" r="196" b="104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400" y="4091643"/>
            <a:ext cx="4921200" cy="307777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000" cap="all" baseline="0">
                <a:solidFill>
                  <a:schemeClr val="tx1"/>
                </a:solidFill>
                <a:latin typeface="Averta Std Black" panose="00000A00000000000000" pitchFamily="50" charset="0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35400" y="4563096"/>
            <a:ext cx="4921200" cy="169277"/>
          </a:xfrm>
        </p:spPr>
        <p:txBody>
          <a:bodyPr wrap="square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1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Presentation dat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6052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8936" y="767788"/>
            <a:ext cx="10604499" cy="45134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933" b="0" cap="all" spc="67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91633" y="1278801"/>
            <a:ext cx="10604499" cy="18845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791633" y="656089"/>
            <a:ext cx="12192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7510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4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Various Project Show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 Placeholder 9"/>
          <p:cNvSpPr>
            <a:spLocks noGrp="1"/>
          </p:cNvSpPr>
          <p:nvPr>
            <p:ph type="body" sz="quarter" idx="18"/>
          </p:nvPr>
        </p:nvSpPr>
        <p:spPr>
          <a:xfrm>
            <a:off x="778936" y="767788"/>
            <a:ext cx="10604499" cy="45134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933" b="0" cap="all" spc="67" baseline="0">
                <a:solidFill>
                  <a:schemeClr val="accent1"/>
                </a:solidFill>
                <a:latin typeface="Lato Black" panose="020F0A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9"/>
          <p:cNvSpPr>
            <a:spLocks noGrp="1"/>
          </p:cNvSpPr>
          <p:nvPr>
            <p:ph type="body" sz="quarter" idx="19"/>
          </p:nvPr>
        </p:nvSpPr>
        <p:spPr>
          <a:xfrm>
            <a:off x="791633" y="1278801"/>
            <a:ext cx="10604499" cy="18845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200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46" name="Straight Connector 45"/>
          <p:cNvCxnSpPr/>
          <p:nvPr/>
        </p:nvCxnSpPr>
        <p:spPr>
          <a:xfrm>
            <a:off x="791633" y="656089"/>
            <a:ext cx="12192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Picture Placeholder 17"/>
          <p:cNvSpPr>
            <a:spLocks noGrp="1"/>
          </p:cNvSpPr>
          <p:nvPr>
            <p:ph type="pic" sz="quarter" idx="10"/>
          </p:nvPr>
        </p:nvSpPr>
        <p:spPr>
          <a:xfrm>
            <a:off x="792521" y="2057400"/>
            <a:ext cx="2645664" cy="24622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1600">
                <a:solidFill>
                  <a:schemeClr val="accent4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39" name="TextBox 38"/>
          <p:cNvSpPr txBox="1"/>
          <p:nvPr/>
        </p:nvSpPr>
        <p:spPr>
          <a:xfrm>
            <a:off x="8908408" y="6297122"/>
            <a:ext cx="1547245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67" b="1" spc="40" baseline="0">
                <a:solidFill>
                  <a:schemeClr val="accent3"/>
                </a:solidFill>
                <a:latin typeface="Lato" panose="020F0502020204030203" pitchFamily="34" charset="0"/>
              </a:rPr>
              <a:t>BUSNESS </a:t>
            </a:r>
            <a:r>
              <a:rPr lang="en-US" sz="1067" b="1" spc="40" baseline="0">
                <a:solidFill>
                  <a:schemeClr val="accent2"/>
                </a:solidFill>
                <a:latin typeface="Lato" panose="020F0502020204030203" pitchFamily="34" charset="0"/>
              </a:rPr>
              <a:t>PROPOSAL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585897" y="6297122"/>
            <a:ext cx="275991" cy="1642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1067" b="0" spc="40" baseline="0" smtClean="0">
                <a:solidFill>
                  <a:schemeClr val="accent4"/>
                </a:solidFill>
                <a:latin typeface="Lato" panose="020F0502020204030203" pitchFamily="34" charset="0"/>
              </a:rPr>
              <a:pPr algn="r"/>
              <a:t>‹nr.›</a:t>
            </a:fld>
            <a:endParaRPr lang="en-US" sz="1067" b="0" spc="40" baseline="0">
              <a:solidFill>
                <a:schemeClr val="accent4"/>
              </a:solidFill>
              <a:latin typeface="Lato" panose="020F0502020204030203" pitchFamily="34" charset="0"/>
            </a:endParaRPr>
          </a:p>
        </p:txBody>
      </p:sp>
      <p:sp>
        <p:nvSpPr>
          <p:cNvPr id="42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6082073" y="2057400"/>
            <a:ext cx="2645664" cy="24622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1600">
                <a:solidFill>
                  <a:schemeClr val="accent4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47" name="Picture Placeholder 17"/>
          <p:cNvSpPr>
            <a:spLocks noGrp="1"/>
          </p:cNvSpPr>
          <p:nvPr>
            <p:ph type="pic" sz="quarter" idx="21"/>
          </p:nvPr>
        </p:nvSpPr>
        <p:spPr>
          <a:xfrm>
            <a:off x="3437297" y="3884531"/>
            <a:ext cx="2645664" cy="24622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1600">
                <a:solidFill>
                  <a:schemeClr val="accent4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60" name="Picture Placeholder 17"/>
          <p:cNvSpPr>
            <a:spLocks noGrp="1"/>
          </p:cNvSpPr>
          <p:nvPr>
            <p:ph type="pic" sz="quarter" idx="22"/>
          </p:nvPr>
        </p:nvSpPr>
        <p:spPr>
          <a:xfrm>
            <a:off x="8726849" y="3884531"/>
            <a:ext cx="2645664" cy="24622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1600">
                <a:solidFill>
                  <a:schemeClr val="accent4"/>
                </a:solidFill>
                <a:latin typeface="Lato" panose="020F0502020204030203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Freeform 5">
            <a:hlinkClick r:id="" action="ppaction://hlinkshowjump?jump=nextslide"/>
          </p:cNvPr>
          <p:cNvSpPr>
            <a:spLocks noEditPoints="1"/>
          </p:cNvSpPr>
          <p:nvPr/>
        </p:nvSpPr>
        <p:spPr bwMode="auto">
          <a:xfrm>
            <a:off x="11209905" y="6284422"/>
            <a:ext cx="188345" cy="188345"/>
          </a:xfrm>
          <a:custGeom>
            <a:avLst/>
            <a:gdLst>
              <a:gd name="T0" fmla="*/ 883 w 2350"/>
              <a:gd name="T1" fmla="*/ 679 h 2350"/>
              <a:gd name="T2" fmla="*/ 1338 w 2350"/>
              <a:gd name="T3" fmla="*/ 1175 h 2350"/>
              <a:gd name="T4" fmla="*/ 883 w 2350"/>
              <a:gd name="T5" fmla="*/ 1671 h 2350"/>
              <a:gd name="T6" fmla="*/ 883 w 2350"/>
              <a:gd name="T7" fmla="*/ 1813 h 2350"/>
              <a:gd name="T8" fmla="*/ 1023 w 2350"/>
              <a:gd name="T9" fmla="*/ 1813 h 2350"/>
              <a:gd name="T10" fmla="*/ 1579 w 2350"/>
              <a:gd name="T11" fmla="*/ 1246 h 2350"/>
              <a:gd name="T12" fmla="*/ 1579 w 2350"/>
              <a:gd name="T13" fmla="*/ 1104 h 2350"/>
              <a:gd name="T14" fmla="*/ 1023 w 2350"/>
              <a:gd name="T15" fmla="*/ 537 h 2350"/>
              <a:gd name="T16" fmla="*/ 883 w 2350"/>
              <a:gd name="T17" fmla="*/ 537 h 2350"/>
              <a:gd name="T18" fmla="*/ 883 w 2350"/>
              <a:gd name="T19" fmla="*/ 679 h 2350"/>
              <a:gd name="T20" fmla="*/ 0 w 2350"/>
              <a:gd name="T21" fmla="*/ 1175 h 2350"/>
              <a:gd name="T22" fmla="*/ 1175 w 2350"/>
              <a:gd name="T23" fmla="*/ 2350 h 2350"/>
              <a:gd name="T24" fmla="*/ 2350 w 2350"/>
              <a:gd name="T25" fmla="*/ 1175 h 2350"/>
              <a:gd name="T26" fmla="*/ 1175 w 2350"/>
              <a:gd name="T27" fmla="*/ 0 h 2350"/>
              <a:gd name="T28" fmla="*/ 0 w 2350"/>
              <a:gd name="T29" fmla="*/ 1175 h 2350"/>
              <a:gd name="T30" fmla="*/ 2198 w 2350"/>
              <a:gd name="T31" fmla="*/ 1175 h 2350"/>
              <a:gd name="T32" fmla="*/ 1175 w 2350"/>
              <a:gd name="T33" fmla="*/ 2198 h 2350"/>
              <a:gd name="T34" fmla="*/ 152 w 2350"/>
              <a:gd name="T35" fmla="*/ 1175 h 2350"/>
              <a:gd name="T36" fmla="*/ 1175 w 2350"/>
              <a:gd name="T37" fmla="*/ 152 h 2350"/>
              <a:gd name="T38" fmla="*/ 2198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883" y="679"/>
                </a:moveTo>
                <a:cubicBezTo>
                  <a:pt x="1338" y="1175"/>
                  <a:pt x="1338" y="1175"/>
                  <a:pt x="1338" y="1175"/>
                </a:cubicBezTo>
                <a:cubicBezTo>
                  <a:pt x="883" y="1671"/>
                  <a:pt x="883" y="1671"/>
                  <a:pt x="883" y="1671"/>
                </a:cubicBezTo>
                <a:cubicBezTo>
                  <a:pt x="844" y="1710"/>
                  <a:pt x="844" y="1774"/>
                  <a:pt x="883" y="1813"/>
                </a:cubicBezTo>
                <a:cubicBezTo>
                  <a:pt x="922" y="1852"/>
                  <a:pt x="985" y="1852"/>
                  <a:pt x="1023" y="1813"/>
                </a:cubicBezTo>
                <a:cubicBezTo>
                  <a:pt x="1579" y="1246"/>
                  <a:pt x="1579" y="1246"/>
                  <a:pt x="1579" y="1246"/>
                </a:cubicBezTo>
                <a:cubicBezTo>
                  <a:pt x="1618" y="1207"/>
                  <a:pt x="1618" y="1143"/>
                  <a:pt x="1579" y="1104"/>
                </a:cubicBezTo>
                <a:cubicBezTo>
                  <a:pt x="1023" y="537"/>
                  <a:pt x="1023" y="537"/>
                  <a:pt x="1023" y="537"/>
                </a:cubicBezTo>
                <a:cubicBezTo>
                  <a:pt x="985" y="498"/>
                  <a:pt x="922" y="498"/>
                  <a:pt x="883" y="537"/>
                </a:cubicBezTo>
                <a:cubicBezTo>
                  <a:pt x="844" y="576"/>
                  <a:pt x="844" y="640"/>
                  <a:pt x="883" y="679"/>
                </a:cubicBezTo>
                <a:close/>
                <a:moveTo>
                  <a:pt x="0" y="1175"/>
                </a:move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lose/>
                <a:moveTo>
                  <a:pt x="2198" y="1175"/>
                </a:move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6" name="Freeform 5">
            <a:hlinkClick r:id="" action="ppaction://hlinkshowjump?jump=previousslide"/>
          </p:cNvPr>
          <p:cNvSpPr>
            <a:spLocks noEditPoints="1"/>
          </p:cNvSpPr>
          <p:nvPr/>
        </p:nvSpPr>
        <p:spPr bwMode="auto">
          <a:xfrm>
            <a:off x="10992130" y="6284422"/>
            <a:ext cx="188345" cy="188345"/>
          </a:xfrm>
          <a:custGeom>
            <a:avLst/>
            <a:gdLst>
              <a:gd name="T0" fmla="*/ 1467 w 2350"/>
              <a:gd name="T1" fmla="*/ 1671 h 2350"/>
              <a:gd name="T2" fmla="*/ 1012 w 2350"/>
              <a:gd name="T3" fmla="*/ 1175 h 2350"/>
              <a:gd name="T4" fmla="*/ 1467 w 2350"/>
              <a:gd name="T5" fmla="*/ 679 h 2350"/>
              <a:gd name="T6" fmla="*/ 1467 w 2350"/>
              <a:gd name="T7" fmla="*/ 537 h 2350"/>
              <a:gd name="T8" fmla="*/ 1327 w 2350"/>
              <a:gd name="T9" fmla="*/ 537 h 2350"/>
              <a:gd name="T10" fmla="*/ 771 w 2350"/>
              <a:gd name="T11" fmla="*/ 1104 h 2350"/>
              <a:gd name="T12" fmla="*/ 771 w 2350"/>
              <a:gd name="T13" fmla="*/ 1246 h 2350"/>
              <a:gd name="T14" fmla="*/ 1327 w 2350"/>
              <a:gd name="T15" fmla="*/ 1813 h 2350"/>
              <a:gd name="T16" fmla="*/ 1467 w 2350"/>
              <a:gd name="T17" fmla="*/ 1813 h 2350"/>
              <a:gd name="T18" fmla="*/ 1467 w 2350"/>
              <a:gd name="T19" fmla="*/ 1671 h 2350"/>
              <a:gd name="T20" fmla="*/ 2350 w 2350"/>
              <a:gd name="T21" fmla="*/ 1175 h 2350"/>
              <a:gd name="T22" fmla="*/ 1175 w 2350"/>
              <a:gd name="T23" fmla="*/ 0 h 2350"/>
              <a:gd name="T24" fmla="*/ 0 w 2350"/>
              <a:gd name="T25" fmla="*/ 1175 h 2350"/>
              <a:gd name="T26" fmla="*/ 1175 w 2350"/>
              <a:gd name="T27" fmla="*/ 2350 h 2350"/>
              <a:gd name="T28" fmla="*/ 2350 w 2350"/>
              <a:gd name="T29" fmla="*/ 1175 h 2350"/>
              <a:gd name="T30" fmla="*/ 152 w 2350"/>
              <a:gd name="T31" fmla="*/ 1175 h 2350"/>
              <a:gd name="T32" fmla="*/ 1175 w 2350"/>
              <a:gd name="T33" fmla="*/ 152 h 2350"/>
              <a:gd name="T34" fmla="*/ 2198 w 2350"/>
              <a:gd name="T35" fmla="*/ 1175 h 2350"/>
              <a:gd name="T36" fmla="*/ 1175 w 2350"/>
              <a:gd name="T37" fmla="*/ 2198 h 2350"/>
              <a:gd name="T38" fmla="*/ 152 w 2350"/>
              <a:gd name="T39" fmla="*/ 1175 h 2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350" h="2350">
                <a:moveTo>
                  <a:pt x="1467" y="1671"/>
                </a:moveTo>
                <a:cubicBezTo>
                  <a:pt x="1012" y="1175"/>
                  <a:pt x="1012" y="1175"/>
                  <a:pt x="1012" y="1175"/>
                </a:cubicBezTo>
                <a:cubicBezTo>
                  <a:pt x="1467" y="679"/>
                  <a:pt x="1467" y="679"/>
                  <a:pt x="1467" y="679"/>
                </a:cubicBezTo>
                <a:cubicBezTo>
                  <a:pt x="1506" y="640"/>
                  <a:pt x="1506" y="576"/>
                  <a:pt x="1467" y="537"/>
                </a:cubicBezTo>
                <a:cubicBezTo>
                  <a:pt x="1428" y="498"/>
                  <a:pt x="1365" y="498"/>
                  <a:pt x="1327" y="537"/>
                </a:cubicBezTo>
                <a:cubicBezTo>
                  <a:pt x="771" y="1104"/>
                  <a:pt x="771" y="1104"/>
                  <a:pt x="771" y="1104"/>
                </a:cubicBezTo>
                <a:cubicBezTo>
                  <a:pt x="732" y="1143"/>
                  <a:pt x="732" y="1207"/>
                  <a:pt x="771" y="1246"/>
                </a:cubicBezTo>
                <a:cubicBezTo>
                  <a:pt x="1327" y="1813"/>
                  <a:pt x="1327" y="1813"/>
                  <a:pt x="1327" y="1813"/>
                </a:cubicBezTo>
                <a:cubicBezTo>
                  <a:pt x="1365" y="1852"/>
                  <a:pt x="1428" y="1852"/>
                  <a:pt x="1467" y="1813"/>
                </a:cubicBezTo>
                <a:cubicBezTo>
                  <a:pt x="1506" y="1774"/>
                  <a:pt x="1506" y="1710"/>
                  <a:pt x="1467" y="1671"/>
                </a:cubicBezTo>
                <a:close/>
                <a:moveTo>
                  <a:pt x="2350" y="1175"/>
                </a:moveTo>
                <a:cubicBezTo>
                  <a:pt x="2350" y="526"/>
                  <a:pt x="1824" y="0"/>
                  <a:pt x="1175" y="0"/>
                </a:cubicBezTo>
                <a:cubicBezTo>
                  <a:pt x="526" y="0"/>
                  <a:pt x="0" y="526"/>
                  <a:pt x="0" y="1175"/>
                </a:cubicBezTo>
                <a:cubicBezTo>
                  <a:pt x="0" y="1824"/>
                  <a:pt x="526" y="2350"/>
                  <a:pt x="1175" y="2350"/>
                </a:cubicBezTo>
                <a:cubicBezTo>
                  <a:pt x="1824" y="2350"/>
                  <a:pt x="2350" y="1824"/>
                  <a:pt x="2350" y="1175"/>
                </a:cubicBezTo>
                <a:close/>
                <a:moveTo>
                  <a:pt x="152" y="1175"/>
                </a:moveTo>
                <a:cubicBezTo>
                  <a:pt x="152" y="610"/>
                  <a:pt x="610" y="152"/>
                  <a:pt x="1175" y="152"/>
                </a:cubicBezTo>
                <a:cubicBezTo>
                  <a:pt x="1740" y="152"/>
                  <a:pt x="2198" y="610"/>
                  <a:pt x="2198" y="1175"/>
                </a:cubicBezTo>
                <a:cubicBezTo>
                  <a:pt x="2198" y="1740"/>
                  <a:pt x="1740" y="2198"/>
                  <a:pt x="1175" y="2198"/>
                </a:cubicBezTo>
                <a:cubicBezTo>
                  <a:pt x="610" y="2198"/>
                  <a:pt x="152" y="1740"/>
                  <a:pt x="152" y="117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258098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Light">
    <p:bg>
      <p:bgPr>
        <a:blipFill dpi="0" rotWithShape="1">
          <a:blip r:embed="rId3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6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C82BB62-143E-47FD-8824-9B55D3C8633C}"/>
              </a:ext>
            </a:extLst>
          </p:cNvPr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bg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vert="horz" wrap="square" anchor="b" anchorCtr="0"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 rtl="0"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CC70EB95-E18C-4DD8-8F54-BAC18F14BB23}" type="datetime4">
              <a:rPr lang="en-GB" smtClean="0"/>
              <a:pPr/>
              <a:t>9 November 2023</a:t>
            </a:fld>
            <a:endParaRPr lang="en-GB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0" name="MSIPCMContentMarking" descr="{&quot;HashCode&quot;:353844856,&quot;Placement&quot;:&quot;Footer&quot;}">
            <a:extLst>
              <a:ext uri="{FF2B5EF4-FFF2-40B4-BE49-F238E27FC236}">
                <a16:creationId xmlns:a16="http://schemas.microsoft.com/office/drawing/2014/main" id="{AC45B808-94BE-49CA-92D6-0AFC14A6E800}"/>
              </a:ext>
            </a:extLst>
          </p:cNvPr>
          <p:cNvSpPr txBox="1"/>
          <p:nvPr userDrawn="1"/>
        </p:nvSpPr>
        <p:spPr>
          <a:xfrm>
            <a:off x="322729" y="6519621"/>
            <a:ext cx="1426091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 rtl="0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schemeClr val="bg1"/>
                </a:solidFill>
                <a:latin typeface="+mj-lt"/>
              </a:rPr>
              <a:t>C2 VodafoneZiggo Internal</a:t>
            </a:r>
          </a:p>
        </p:txBody>
      </p:sp>
    </p:spTree>
    <p:extLst>
      <p:ext uri="{BB962C8B-B14F-4D97-AF65-F5344CB8AC3E}">
        <p14:creationId xmlns:p14="http://schemas.microsoft.com/office/powerpoint/2010/main" val="191665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9, 2023</a:t>
            </a:fld>
            <a:endParaRPr lang="en-US"/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0855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99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666BB312-5D92-47E3-A0A7-B0AE11402E79}" type="datetime4">
              <a:rPr lang="en-GB" smtClean="0"/>
              <a:pPr/>
              <a:t>9 Nov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4901184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UBTITLES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79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3B0DCB4E-7FEC-451F-9BEF-2E97D61B0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48968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873AD7-64A7-4230-B75E-29727A856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73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873AD7-64A7-4230-B75E-29727A856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8353AD-D1C3-4975-9AB5-5C26FC198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resentation title here</a:t>
            </a:r>
            <a:br>
              <a:rPr lang="en-US"/>
            </a:br>
            <a:r>
              <a:rPr lang="en-US"/>
              <a:t>It can be 2 lines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49D9E5-2E0A-4328-A1E5-866E9639D261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E1C3D7D-B103-4CB4-92CD-29DD9851E516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5" name="Afbeelding 9">
              <a:extLst>
                <a:ext uri="{FF2B5EF4-FFF2-40B4-BE49-F238E27FC236}">
                  <a16:creationId xmlns:a16="http://schemas.microsoft.com/office/drawing/2014/main" id="{212B14CA-F4E6-4D57-99BA-D781EA1924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9469197-ED27-4366-8F87-4203D3DF8D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57326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C3188E2-35E4-4AF8-8A00-DDB83F5F6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071563"/>
            <a:ext cx="11277600" cy="508249"/>
          </a:xfrm>
        </p:spPr>
        <p:txBody>
          <a:bodyPr anchor="ctr"/>
          <a:lstStyle>
            <a:lvl1pPr rtl="0">
              <a:defRPr sz="1600" b="1" cap="all" baseline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4021632A-127F-4177-84C7-6CE4D0FF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27" name="Tekstvak 11">
            <a:extLst>
              <a:ext uri="{FF2B5EF4-FFF2-40B4-BE49-F238E27FC236}">
                <a16:creationId xmlns:a16="http://schemas.microsoft.com/office/drawing/2014/main" id="{AC374550-88B2-4BE5-A98C-08F55DCADC8F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8665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28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10361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284514622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39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ADC4CBB-BF49-4B73-988C-ECCDD035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C643677-D14B-495B-A606-261D1D02A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81123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81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0FC27A1-3A95-4F2E-8F1B-9CB3FA01C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DCF2CE51-22A3-4807-A8BE-E0886C327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27091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501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2838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B7526C9-E5E2-4A18-BC69-38343FD2A7A0}"/>
              </a:ext>
            </a:extLst>
          </p:cNvPr>
          <p:cNvSpPr txBox="1">
            <a:spLocks/>
          </p:cNvSpPr>
          <p:nvPr userDrawn="1"/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nl-NL"/>
            </a:defPPr>
            <a:lvl1pPr marL="177800" indent="-177800">
              <a:buFont typeface="+mj-lt"/>
              <a:buAutoNum type="arabicPeriod"/>
              <a:tabLst>
                <a:tab pos="177800" algn="l"/>
              </a:tabLst>
              <a:defRPr sz="800"/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/>
              <a:t>Insert optional footnote(s)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03B2EF9B-0CB0-4078-B0D9-E34478B9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1859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91C6CE-FB16-4475-8C8F-C59AD6C7A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96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91C6CE-FB16-4475-8C8F-C59AD6C7A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E4AF05-ED52-4ADF-82E5-088DC5891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DFE54BD-049E-44B6-86CE-265C343F13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34B1B8-D20E-485A-AB8F-03E7EEF6693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139D4A2-432D-4656-A6DF-60B3BDFE01F8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5E779B53-31D5-4F6F-ADDF-B91F8DE6E0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346E0418-56D3-411F-9C2C-682664018B6B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A52504E-8196-4421-9589-45A4A9E6057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68151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03B11DF-D841-4BE8-876C-8A98232CE15A}"/>
              </a:ext>
            </a:extLst>
          </p:cNvPr>
          <p:cNvSpPr txBox="1">
            <a:spLocks/>
          </p:cNvSpPr>
          <p:nvPr userDrawn="1"/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l-NL"/>
            </a:defPPr>
            <a:lvl1pPr marL="0" algn="l" defTabSz="914377" rtl="0" eaLnBrk="1" latinLnBrk="0" hangingPunct="1">
              <a:buFont typeface="+mj-lt"/>
              <a:buAutoNum type="arabicPeriod"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28425336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244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E58E6013-E68D-494F-8409-F3E089CE84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7564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6820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7200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itle 5">
            <a:extLst>
              <a:ext uri="{FF2B5EF4-FFF2-40B4-BE49-F238E27FC236}">
                <a16:creationId xmlns:a16="http://schemas.microsoft.com/office/drawing/2014/main" id="{F7B878B2-4277-4973-BAAB-A850AFBDFE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427590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94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D52B0C8F-0381-4290-9CA3-CE76CB001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668857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UBTITLES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796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3B0DCB4E-7FEC-451F-9BEF-2E97D61B08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52009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85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B455C66-D33C-4707-91F9-690A605EC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FE92D3B5-6626-4E7E-8C4C-1184A57CE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13133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 -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854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7" cy="4572000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B455C66-D33C-4707-91F9-690A605EC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2" name="Title 5">
            <a:extLst>
              <a:ext uri="{FF2B5EF4-FFF2-40B4-BE49-F238E27FC236}">
                <a16:creationId xmlns:a16="http://schemas.microsoft.com/office/drawing/2014/main" id="{FE92D3B5-6626-4E7E-8C4C-1184A57CE6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665703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kstvak 11">
            <a:extLst>
              <a:ext uri="{FF2B5EF4-FFF2-40B4-BE49-F238E27FC236}">
                <a16:creationId xmlns:a16="http://schemas.microsoft.com/office/drawing/2014/main" id="{9CB6234C-2AC2-4EFF-ABD6-9240BE0FC15A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B45CC0-D0CE-49F1-855D-664A05487BF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28775"/>
            <a:ext cx="5386389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62AEED-97B3-49B2-BF24-9C982FEB9B4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8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75A7128-08D8-42B4-83FF-B646B71091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4389065-FE70-49CD-B20F-FE82AE6B7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E89D009-F21B-4391-A1BA-63604A0481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727E7BE-1E5F-4ED9-A4F1-A15194E402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A545819-24A1-4330-A4A5-BD2885B8327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4097943-5B7E-4362-8FB6-589B05AA8F94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20" name="Afbeelding 9">
              <a:extLst>
                <a:ext uri="{FF2B5EF4-FFF2-40B4-BE49-F238E27FC236}">
                  <a16:creationId xmlns:a16="http://schemas.microsoft.com/office/drawing/2014/main" id="{B0521A80-FB78-400F-AE83-B37979B18C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244066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28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37AF21-04A8-4B66-AB46-710F0BB303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108E9FA-D8DC-4A6B-BDDA-E6F881599E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9C81E3-BC4D-4379-B8F1-D5C86AF7C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010911-4D7D-45EF-8FDD-494D60D14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995791A-2285-4940-AC88-E8EDF9AF67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4" y="1629189"/>
            <a:ext cx="5388874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8FE89DF-053C-40EA-9AAA-D56E65C11A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29189"/>
            <a:ext cx="5386386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1569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29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655455C3-4E25-4B89-A91E-C435EB33855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454AD0-9205-4B71-A4BF-B11E80E3D6E0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DFF6254B-D3C0-4D46-8BC8-6745A38DCC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77C52333-BC06-411D-82F2-832BC4C64C82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BFDB805-DA5D-4A67-988D-CFB27E0B75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1636120"/>
            <a:ext cx="5388872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DE01AF-544C-4C31-83C0-3F56D5DB7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36120"/>
            <a:ext cx="5386386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8237F11-032E-4588-9D31-AE81739EA0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79559FD-8348-496C-9346-81BA6DD97A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514F2A6-215D-41FE-94C0-393561A0F0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D79539D-49D6-4B8E-A7C2-250E47704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227968239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91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370799" y="1628775"/>
            <a:ext cx="5364000" cy="4572000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 rtl="0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4714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96746F5B-9A52-4437-A30B-6C4FC9398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624637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17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75DC6AA-8A89-4060-B1E0-BB76B82C1900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B2B1EF-C0F0-422A-94CD-EE9C8E07999E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455A3A6B-4D46-4400-AA93-A7D5331669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8E2F52D-7228-4ED8-B064-614EAB78A2F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4"/>
            <a:ext cx="5386388" cy="456815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E332D5B3-12B8-451D-8F5D-EDFE57AF5154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C8728AF-07FB-42D7-9C42-F9B9A4F1C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6861D46-2F88-4794-8BEA-3C46E5DBF7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8412" y="1628774"/>
            <a:ext cx="5386388" cy="4568151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50580F1-FA36-426D-809D-62D471D118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47334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79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2930402"/>
            <a:ext cx="3008376" cy="997196"/>
          </a:xfrm>
        </p:spPr>
        <p:txBody>
          <a:bodyPr vert="horz" anchor="ctr"/>
          <a:lstStyle>
            <a:lvl1pPr algn="ctr" rtl="0">
              <a:defRPr sz="3600" cap="none"/>
            </a:lvl1pPr>
          </a:lstStyle>
          <a:p>
            <a:r>
              <a:rPr lang="en-GB"/>
              <a:t>Click to add  text</a:t>
            </a:r>
          </a:p>
        </p:txBody>
      </p:sp>
    </p:spTree>
    <p:extLst>
      <p:ext uri="{BB962C8B-B14F-4D97-AF65-F5344CB8AC3E}">
        <p14:creationId xmlns:p14="http://schemas.microsoft.com/office/powerpoint/2010/main" val="254079586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98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vert="horz" wrap="square">
            <a:noAutofit/>
          </a:bodyPr>
          <a:lstStyle>
            <a:lvl1pPr algn="ctr" rtl="0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5942583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DC5A1BE-7177-4533-8123-096D246F1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43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5DC5A1BE-7177-4533-8123-096D246F1A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8F6F8B-0B24-4857-A7D5-74574141CF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70C280E-83C1-4B88-9D81-9108BDCAD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84"/>
            <a:ext cx="11277600" cy="407815"/>
          </a:xfrm>
        </p:spPr>
        <p:txBody>
          <a:bodyPr vert="horz" anchor="b" anchorCtr="0"/>
          <a:lstStyle>
            <a:lvl1pPr algn="l" rtl="0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FB0EB6E-C35F-4329-A648-FF86C683E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046128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757B8D-D566-4381-959E-E24594369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2537477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F287BEC-C30B-412E-8960-32EA6ED268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7026" y="3028826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52C0F7-7E39-4148-93C8-7DB66454C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046128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9193003-ED9A-4F34-A698-ECC0478905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2537477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38C413C-9F41-406D-B8EE-CE0985CC3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3975" y="3028826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67EEC7-6311-42B5-9675-0401F5BBE5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3520175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54AD25F-31DF-4709-B669-07DEDC282A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011524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5E2C3B7-C587-440D-A3F2-1BADFF763F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7026" y="4502873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7F9B618-FA30-41A4-8957-E196C096A4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3520175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643C015-80C0-49F7-9E10-C3B23E5FCB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011524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2586B7E-50E7-4F35-B3A2-A29929CC0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3975" y="4502873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360559336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1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vert="horz" wrap="square" anchor="b" anchorCtr="0">
            <a:noAutofit/>
          </a:bodyPr>
          <a:lstStyle>
            <a:lvl1pPr algn="ctr" rtl="0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insert your </a:t>
            </a:r>
            <a:br>
              <a:rPr lang="en-GB"/>
            </a:br>
            <a:r>
              <a:rPr lang="en-GB"/>
              <a:t>closing title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97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0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kstvak 11">
            <a:extLst>
              <a:ext uri="{FF2B5EF4-FFF2-40B4-BE49-F238E27FC236}">
                <a16:creationId xmlns:a16="http://schemas.microsoft.com/office/drawing/2014/main" id="{9CB6234C-2AC2-4EFF-ABD6-9240BE0FC15A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1B45CC0-D0CE-49F1-855D-664A05487BF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199" y="1628775"/>
            <a:ext cx="5386389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62AEED-97B3-49B2-BF24-9C982FEB9B4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48413" y="1628775"/>
            <a:ext cx="5386388" cy="4568151"/>
          </a:xfrm>
        </p:spPr>
        <p:txBody>
          <a:bodyPr>
            <a:noAutofit/>
          </a:bodyPr>
          <a:lstStyle>
            <a:lvl1pPr algn="ctr" rtl="0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75A7128-08D8-42B4-83FF-B646B71091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4389065-FE70-49CD-B20F-FE82AE6B77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E89D009-F21B-4391-A1BA-63604A0481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2884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727E7BE-1E5F-4ED9-A4F1-A15194E402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A545819-24A1-4330-A4A5-BD2885B8327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4097943-5B7E-4362-8FB6-589B05AA8F94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20" name="Afbeelding 9">
              <a:extLst>
                <a:ext uri="{FF2B5EF4-FFF2-40B4-BE49-F238E27FC236}">
                  <a16:creationId xmlns:a16="http://schemas.microsoft.com/office/drawing/2014/main" id="{B0521A80-FB78-400F-AE83-B37979B18C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187494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81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BECC687-C6BD-4896-B929-52794798B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6AA9EF-D68C-4019-B888-E19A7324EA3A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23A6F5-4908-47D3-94F2-FAE559FF39FA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9" name="Afbeelding 9">
              <a:extLst>
                <a:ext uri="{FF2B5EF4-FFF2-40B4-BE49-F238E27FC236}">
                  <a16:creationId xmlns:a16="http://schemas.microsoft.com/office/drawing/2014/main" id="{27374FCE-B885-4691-A555-30080E9CD7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0" name="Tekstvak 11">
            <a:extLst>
              <a:ext uri="{FF2B5EF4-FFF2-40B4-BE49-F238E27FC236}">
                <a16:creationId xmlns:a16="http://schemas.microsoft.com/office/drawing/2014/main" id="{21A2C087-8A2A-4514-A948-ECA532594ED3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46482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952804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7D530-BDE9-4DCC-8BF9-CB73DA459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BD260-8975-45F5-B203-3CFCF5AB5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/>
            </a:lvl1pPr>
            <a:lvl2pPr>
              <a:lnSpc>
                <a:spcPct val="112000"/>
              </a:lnSpc>
              <a:spcAft>
                <a:spcPts val="600"/>
              </a:spcAft>
              <a:defRPr/>
            </a:lvl2pPr>
            <a:lvl3pPr>
              <a:lnSpc>
                <a:spcPct val="112000"/>
              </a:lnSpc>
              <a:spcAft>
                <a:spcPts val="600"/>
              </a:spcAft>
              <a:defRPr/>
            </a:lvl3pPr>
            <a:lvl4pPr>
              <a:lnSpc>
                <a:spcPct val="112000"/>
              </a:lnSpc>
              <a:spcAft>
                <a:spcPts val="600"/>
              </a:spcAft>
              <a:defRPr/>
            </a:lvl4pPr>
            <a:lvl5pPr>
              <a:lnSpc>
                <a:spcPct val="112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A103E3-9AA1-44F5-9411-A2B448AE5B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17281413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Ligh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128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437AF21-04A8-4B66-AB46-710F0BB303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108E9FA-D8DC-4A6B-BDDA-E6F881599E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9C81E3-BC4D-4379-B8F1-D5C86AF7C5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09586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1010911-4D7D-45EF-8FDD-494D60D14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995791A-2285-4940-AC88-E8EDF9AF67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4" y="1629189"/>
            <a:ext cx="5388874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8FE89DF-053C-40EA-9AAA-D56E65C11A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29189"/>
            <a:ext cx="5386386" cy="457158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48630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TEXT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D3AB8E9-6192-4AF8-82E6-4982B1D941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291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D3AB8E9-6192-4AF8-82E6-4982B1D941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655455C3-4E25-4B89-A91E-C435EB33855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454AD0-9205-4B71-A4BF-B11E80E3D6E0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DFF6254B-D3C0-4D46-8BC8-6745A38DCC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77C52333-BC06-411D-82F2-832BC4C64C82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BFDB805-DA5D-4A67-988D-CFB27E0B75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1636120"/>
            <a:ext cx="5388872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CDE01AF-544C-4C31-83C0-3F56D5DB76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8413" y="1636120"/>
            <a:ext cx="5386386" cy="4560805"/>
          </a:xfr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8237F11-032E-4588-9D31-AE81739EA0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79559FD-8348-496C-9346-81BA6DD97A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1071564"/>
            <a:ext cx="5386388" cy="513480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bg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514F2A6-215D-41FE-94C0-393561A0F0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D79539D-49D6-4B8E-A7C2-250E477046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8851610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917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6370799" y="1628775"/>
            <a:ext cx="5364000" cy="4572000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 rtl="0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5386388" cy="4572000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 rtl="0">
              <a:lnSpc>
                <a:spcPct val="113000"/>
              </a:lnSpc>
              <a:spcAft>
                <a:spcPts val="600"/>
              </a:spcAft>
              <a:defRPr/>
            </a:lvl1pPr>
            <a:lvl2pPr rtl="0">
              <a:lnSpc>
                <a:spcPct val="113000"/>
              </a:lnSpc>
              <a:spcAft>
                <a:spcPts val="600"/>
              </a:spcAft>
              <a:defRPr/>
            </a:lvl2pPr>
            <a:lvl3pPr rtl="0">
              <a:lnSpc>
                <a:spcPct val="113000"/>
              </a:lnSpc>
              <a:spcAft>
                <a:spcPts val="600"/>
              </a:spcAft>
              <a:defRPr/>
            </a:lvl3pPr>
            <a:lvl4pPr rtl="0">
              <a:lnSpc>
                <a:spcPct val="113000"/>
              </a:lnSpc>
              <a:spcAft>
                <a:spcPts val="600"/>
              </a:spcAft>
              <a:defRPr/>
            </a:lvl4pPr>
            <a:lvl5pPr rtl="0">
              <a:lnSpc>
                <a:spcPct val="113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4714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96746F5B-9A52-4437-A30B-6C4FC9398D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35028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8172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F75DC6AA-8A89-4060-B1E0-BB76B82C1900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0B2B1EF-C0F0-422A-94CD-EE9C8E07999E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455A3A6B-4D46-4400-AA93-A7D53316692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8E2F52D-7228-4ED8-B064-614EAB78A2F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4"/>
            <a:ext cx="5386388" cy="456815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E332D5B3-12B8-451D-8F5D-EDFE57AF5154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8C8728AF-07FB-42D7-9C42-F9B9A4F1C8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E6861D46-2F88-4794-8BEA-3C46E5DBF7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48412" y="1628774"/>
            <a:ext cx="5386388" cy="4568151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D50580F1-FA36-426D-809D-62D471D1182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993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9, 2023</a:t>
            </a:fld>
            <a:endParaRPr lang="en-US"/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4634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7794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2930402"/>
            <a:ext cx="3008376" cy="997196"/>
          </a:xfrm>
        </p:spPr>
        <p:txBody>
          <a:bodyPr vert="horz" anchor="ctr"/>
          <a:lstStyle>
            <a:lvl1pPr algn="ctr" rtl="0">
              <a:defRPr sz="3600" cap="none"/>
            </a:lvl1pPr>
          </a:lstStyle>
          <a:p>
            <a:r>
              <a:rPr lang="en-GB"/>
              <a:t>Click to add  text</a:t>
            </a:r>
          </a:p>
        </p:txBody>
      </p:sp>
    </p:spTree>
    <p:extLst>
      <p:ext uri="{BB962C8B-B14F-4D97-AF65-F5344CB8AC3E}">
        <p14:creationId xmlns:p14="http://schemas.microsoft.com/office/powerpoint/2010/main" val="39712897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983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vert="horz" wrap="square">
            <a:noAutofit/>
          </a:bodyPr>
          <a:lstStyle>
            <a:lvl1pPr algn="ctr" rtl="0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015805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5DC5A1BE-7177-4533-8123-096D246F1A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439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5DC5A1BE-7177-4533-8123-096D246F1A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8F6F8B-0B24-4857-A7D5-74574141CF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A70C280E-83C1-4B88-9D81-9108BDCADD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620884"/>
            <a:ext cx="11277600" cy="407815"/>
          </a:xfrm>
        </p:spPr>
        <p:txBody>
          <a:bodyPr vert="horz" anchor="b" anchorCtr="0"/>
          <a:lstStyle>
            <a:lvl1pPr algn="l" rtl="0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FB0EB6E-C35F-4329-A648-FF86C683EE4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046128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757B8D-D566-4381-959E-E24594369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2537477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1F287BEC-C30B-412E-8960-32EA6ED268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7026" y="3028826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52C0F7-7E39-4148-93C8-7DB66454C1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046128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C9193003-ED9A-4F34-A698-ECC0478905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2537477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D38C413C-9F41-406D-B8EE-CE0985CC38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3975" y="3028826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D67EEC7-6311-42B5-9675-0401F5BBE54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3520175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54AD25F-31DF-4709-B669-07DEDC282AB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011524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75E2C3B7-C587-440D-A3F2-1BADFF763F4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07026" y="4502873"/>
            <a:ext cx="4579514" cy="344212"/>
          </a:xfrm>
        </p:spPr>
        <p:txBody>
          <a:bodyPr lIns="36000" anchor="ctr"/>
          <a:lstStyle>
            <a:lvl1pPr rtl="0"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Click to add chapter he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7F9B618-FA30-41A4-8957-E196C096A4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3520175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5643C015-80C0-49F7-9E10-C3B23E5FCB2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011524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32586B7E-50E7-4F35-B3A2-A29929CC09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03975" y="4502873"/>
            <a:ext cx="708579" cy="344212"/>
          </a:xfrm>
        </p:spPr>
        <p:txBody>
          <a:bodyPr lIns="36000" anchor="ctr"/>
          <a:lstStyle>
            <a:lvl1pPr rtl="0">
              <a:defRPr sz="1800" b="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28453417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18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vert="horz" wrap="square" anchor="b" anchorCtr="0">
            <a:noAutofit/>
          </a:bodyPr>
          <a:lstStyle>
            <a:lvl1pPr algn="ctr" rtl="0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Click to insert your </a:t>
            </a:r>
            <a:br>
              <a:rPr lang="en-GB"/>
            </a:br>
            <a:r>
              <a:rPr lang="en-GB"/>
              <a:t>closing title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4623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181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5BECC687-C6BD-4896-B929-52794798BB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96AA9EF-D68C-4019-B888-E19A7324EA3A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D23A6F5-4908-47D3-94F2-FAE559FF39FA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9" name="Afbeelding 9">
              <a:extLst>
                <a:ext uri="{FF2B5EF4-FFF2-40B4-BE49-F238E27FC236}">
                  <a16:creationId xmlns:a16="http://schemas.microsoft.com/office/drawing/2014/main" id="{27374FCE-B885-4691-A555-30080E9CD7D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0" name="Tekstvak 11">
            <a:extLst>
              <a:ext uri="{FF2B5EF4-FFF2-40B4-BE49-F238E27FC236}">
                <a16:creationId xmlns:a16="http://schemas.microsoft.com/office/drawing/2014/main" id="{21A2C087-8A2A-4514-A948-ECA532594ED3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1243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1037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7D530-BDE9-4DCC-8BF9-CB73DA459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EBD260-8975-45F5-B203-3CFCF5AB52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12000"/>
              </a:lnSpc>
              <a:spcAft>
                <a:spcPts val="600"/>
              </a:spcAft>
              <a:defRPr/>
            </a:lvl1pPr>
            <a:lvl2pPr>
              <a:lnSpc>
                <a:spcPct val="112000"/>
              </a:lnSpc>
              <a:spcAft>
                <a:spcPts val="600"/>
              </a:spcAft>
              <a:defRPr/>
            </a:lvl2pPr>
            <a:lvl3pPr>
              <a:lnSpc>
                <a:spcPct val="112000"/>
              </a:lnSpc>
              <a:spcAft>
                <a:spcPts val="600"/>
              </a:spcAft>
              <a:defRPr/>
            </a:lvl3pPr>
            <a:lvl4pPr>
              <a:lnSpc>
                <a:spcPct val="112000"/>
              </a:lnSpc>
              <a:spcAft>
                <a:spcPts val="600"/>
              </a:spcAft>
              <a:defRPr/>
            </a:lvl4pPr>
            <a:lvl5pPr>
              <a:lnSpc>
                <a:spcPct val="112000"/>
              </a:lnSpc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A103E3-9AA1-44F5-9411-A2B448AE5B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25395398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8F871A8C-2DFF-4D16-ABB9-4A76234398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77102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DD91852-417F-4DD0-AECA-7045D96695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09F5A6A3-46B6-489F-BFCE-85F3726CE8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accent6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8888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494653"/>
            <a:ext cx="8983864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D7791FA-B043-204F-B3E7-D591D6E3F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endParaRPr lang="en-US" cap="all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864B076-883B-4244-8D2E-1E403399A5DB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230B405-7563-4FFD-B436-F1793C4342E2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DF046661-4379-41C6-A2B7-A9530E05679C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C54A6647-68D4-4038-BB62-C96F83E7C2FD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EE124C7D-85D6-4026-A02A-9E15DE1169F4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53483750-F2C1-4D9C-AA10-9813FF6C27E0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7FBC96CF-6BD7-453B-B8D7-628708C71C59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4248ED1-E432-40EE-9B28-99A47F23DAD6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1FB0D81-6D92-4B6F-8230-42EDBF69ADF4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9917DE-CB0F-41F0-A4D6-FFC75BA465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73F93194-AAD5-4E70-9FA4-25601F14ED8E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9BC46C6B-EF7F-4744-9145-47E263FF80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91596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3996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vert="horz" wrap="square" anchor="t" anchorCtr="0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 rtl="0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666BB312-5D92-47E3-A0A7-B0AE11402E79}" type="datetime4">
              <a:rPr lang="en-GB" smtClean="0"/>
              <a:pPr/>
              <a:t>9 November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8478572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D4A846-C908-495B-BBE9-06B040463D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64716EC-13D8-6546-ABBF-887C848D7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876CC9A-B8C7-40D8-81A1-F5CCFD02D2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9" y="2494653"/>
            <a:ext cx="9341269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E55C125-F87E-49DF-B04F-655A0AB6E8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>
                <a:solidFill>
                  <a:schemeClr val="accent3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1929DF5-CC09-4711-866E-219AA931F2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85900D-5B7C-42ED-9489-649733ECCF95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733D0D8-62E2-4024-9B50-E6D551D035AC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5224639-F221-4FAC-B883-4F1C2303C8AF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DED50C5B-537A-4E41-AD12-A08C0E4CA157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67B4DE3-0B46-4431-9A23-11BD3C7206D6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ACCF5B65-E979-49A4-8EAA-177E707A41B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CB182F4-B74E-43ED-AFE9-401557C1EB00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EC54A7E-D1A4-4926-BBF3-8E6586664776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A529B28-2B34-4D40-A3F2-1BCD55E48873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D048382-CC46-4AF3-B176-B772FE15B3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18C1835-43CD-4B85-8CFB-EDBC1A1A36BC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DE30E786-A90A-4076-9B08-BD535F67E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accent6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7577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6" t="104" r="196" b="104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 cap="all" baseline="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634E71E-7F49-4ECF-BAC8-C2AC53C60A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04410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SUBTITLE 01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4B2D21F-74FF-5946-BCAC-A522F65FA954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28137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35D5821-B496-4D0E-8F62-F2539FC123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6C807B-22CA-4C05-8DB0-969A7B5A1F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gradFill>
                  <a:gsLst>
                    <a:gs pos="0">
                      <a:schemeClr val="bg2"/>
                    </a:gs>
                    <a:gs pos="100000">
                      <a:schemeClr val="tx2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3F701514-9E06-4D62-BE96-5D6323F1D7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90552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281283"/>
          </a:xfrm>
        </p:spPr>
        <p:txBody>
          <a:bodyPr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solidFill>
                  <a:schemeClr val="accent3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10BD7FF-14AC-4E59-B123-6EEB25238B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7302646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01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3"/>
            <a:ext cx="112788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A64464-C7C2-4D6F-825B-54E493D5C2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596FCFE-20FB-421D-AF42-F579EC6BC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  <p:sp>
        <p:nvSpPr>
          <p:cNvPr id="31" name="Rechthoek 6">
            <a:extLst>
              <a:ext uri="{FF2B5EF4-FFF2-40B4-BE49-F238E27FC236}">
                <a16:creationId xmlns:a16="http://schemas.microsoft.com/office/drawing/2014/main" id="{BFBD8674-2031-4E3C-BC75-C00B902D0DAE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85521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11278800" cy="464502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D303E3-F4F6-44EB-B27B-54033F89B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3BD9AD4A-359E-4B27-ABB8-3615F5ACBC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182606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accent3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accent3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A29BF28-3E92-B343-849B-689A9B60B5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832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B47951CC-639E-2749-8E96-1EAB025B0F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1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3DFC003B-434C-45F0-8F1F-E0D536578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97DC47F8-FF89-4D70-89E7-340A963207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711097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CONTENT 01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017065E-D3D6-1B49-9AB3-291E6A6B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FC5CF9A-6658-3A49-B88F-300B19B5C2B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A02D8D03-2EC3-A048-8DDB-095B8943D5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BD5C9915-B3B7-CA4C-8844-3F6901A0F9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08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EF67E1C7-EBCA-4E0D-9AD9-CF513C333F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34" name="Rechthoek 6">
            <a:extLst>
              <a:ext uri="{FF2B5EF4-FFF2-40B4-BE49-F238E27FC236}">
                <a16:creationId xmlns:a16="http://schemas.microsoft.com/office/drawing/2014/main" id="{C2BDF143-0201-4029-AA91-A2A3EF1E03A4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35" name="Footer Placeholder 4">
            <a:extLst>
              <a:ext uri="{FF2B5EF4-FFF2-40B4-BE49-F238E27FC236}">
                <a16:creationId xmlns:a16="http://schemas.microsoft.com/office/drawing/2014/main" id="{FA5733FB-C467-4FC6-9198-C8DE0624F4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581560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EE0CD1D1-D17F-E749-AABE-293DC0B19D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accent3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39BD4A7B-59D1-4D48-AFE5-57A871BDB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accent3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05FF2C08-9891-4AA8-B1C5-362F6D8EE7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C1C6C-B8D9-45B5-86EC-B2ABEEF9E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FF4D5CA-D5DE-4363-B6DC-CDC4F3A07E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6" name="Afbeelding 10">
            <a:extLst>
              <a:ext uri="{FF2B5EF4-FFF2-40B4-BE49-F238E27FC236}">
                <a16:creationId xmlns:a16="http://schemas.microsoft.com/office/drawing/2014/main" id="{9B42AD25-2B2C-4E4E-97C8-80121DF917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7" name="Tekstvak 8">
            <a:extLst>
              <a:ext uri="{FF2B5EF4-FFF2-40B4-BE49-F238E27FC236}">
                <a16:creationId xmlns:a16="http://schemas.microsoft.com/office/drawing/2014/main" id="{BD06871B-CF5A-49B7-81C6-E53FE0AE4DF7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1" name="Rechthoek 6">
            <a:extLst>
              <a:ext uri="{FF2B5EF4-FFF2-40B4-BE49-F238E27FC236}">
                <a16:creationId xmlns:a16="http://schemas.microsoft.com/office/drawing/2014/main" id="{23A47173-68B3-4A80-B221-54302A1F0BC0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43F7B98E-8A0C-45F2-B022-5847E20CD1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034611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TEXT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id="{413E51A4-8DC4-F046-9665-4F2F8A5E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20" name="Tijdelijke aanduiding voor tekst 10">
            <a:extLst>
              <a:ext uri="{FF2B5EF4-FFF2-40B4-BE49-F238E27FC236}">
                <a16:creationId xmlns:a16="http://schemas.microsoft.com/office/drawing/2014/main" id="{060DF265-34FA-499F-818C-7868BD7F25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B5C5EB5E-0059-4027-9DDE-A388584532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AFCB36C-7E50-4D11-9511-F441AF6915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0EFF78F-A3E2-4DFC-BBC2-21147266CF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Rechthoek 6">
            <a:extLst>
              <a:ext uri="{FF2B5EF4-FFF2-40B4-BE49-F238E27FC236}">
                <a16:creationId xmlns:a16="http://schemas.microsoft.com/office/drawing/2014/main" id="{B7D1B41C-1CF9-4428-A965-6916036C56E3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08A34873-0A25-4BE8-8552-B2E9BF5208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76291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873AD7-64A7-4230-B75E-29727A856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773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873AD7-64A7-4230-B75E-29727A856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E8353AD-D1C3-4975-9AB5-5C26FC198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resentation title here</a:t>
            </a:r>
            <a:br>
              <a:rPr lang="en-US"/>
            </a:br>
            <a:r>
              <a:rPr lang="en-US"/>
              <a:t>It can be 2 lines</a:t>
            </a:r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249D9E5-2E0A-4328-A1E5-866E9639D261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E1C3D7D-B103-4CB4-92CD-29DD9851E516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5" name="Afbeelding 9">
              <a:extLst>
                <a:ext uri="{FF2B5EF4-FFF2-40B4-BE49-F238E27FC236}">
                  <a16:creationId xmlns:a16="http://schemas.microsoft.com/office/drawing/2014/main" id="{212B14CA-F4E6-4D57-99BA-D781EA1924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9469197-ED27-4366-8F87-4203D3DF8D7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573262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C3188E2-35E4-4AF8-8A00-DDB83F5F6B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071563"/>
            <a:ext cx="11277600" cy="508249"/>
          </a:xfrm>
        </p:spPr>
        <p:txBody>
          <a:bodyPr anchor="ctr"/>
          <a:lstStyle>
            <a:lvl1pPr rtl="0">
              <a:defRPr sz="1600" b="1" cap="all" baseline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4021632A-127F-4177-84C7-6CE4D0FFB0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buFont typeface="+mj-lt"/>
              <a:buAutoNum type="arabicPeriod"/>
              <a:defRPr sz="800">
                <a:solidFill>
                  <a:schemeClr val="bg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27" name="Tekstvak 11">
            <a:extLst>
              <a:ext uri="{FF2B5EF4-FFF2-40B4-BE49-F238E27FC236}">
                <a16:creationId xmlns:a16="http://schemas.microsoft.com/office/drawing/2014/main" id="{AC374550-88B2-4BE5-A98C-08F55DCADC8F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3339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6370799" y="1268413"/>
            <a:ext cx="5364000" cy="4645025"/>
          </a:xfrm>
          <a:prstGeom prst="roundRect">
            <a:avLst>
              <a:gd name="adj" fmla="val 1975"/>
            </a:avLst>
          </a:prstGeom>
          <a:solidFill>
            <a:schemeClr val="bg1"/>
          </a:solidFill>
        </p:spPr>
        <p:txBody>
          <a:bodyPr tIns="137160" anchor="ctr" anchorCtr="0">
            <a:noAutofit/>
          </a:bodyPr>
          <a:lstStyle>
            <a:lvl1pPr algn="ctr">
              <a:defRPr sz="1100" b="0">
                <a:solidFill>
                  <a:schemeClr val="accent3"/>
                </a:solidFill>
              </a:defRPr>
            </a:lvl1pPr>
          </a:lstStyle>
          <a:p>
            <a:r>
              <a:rPr lang="nl-NL" noProof="0"/>
              <a:t>Click on icon </a:t>
            </a:r>
            <a:r>
              <a:rPr lang="nl-NL" noProof="0" err="1"/>
              <a:t>to</a:t>
            </a:r>
            <a:r>
              <a:rPr lang="nl-NL" noProof="0"/>
              <a:t> </a:t>
            </a:r>
            <a:r>
              <a:rPr lang="nl-NL" noProof="0" err="1"/>
              <a:t>add</a:t>
            </a:r>
            <a:r>
              <a:rPr lang="nl-NL" noProof="0"/>
              <a:t> pictur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821BADE0-152B-E541-860D-1589F735C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94642824-78A6-44A3-B73B-8FAE4C19BE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9088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IMAGE 01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98AB9C8-003D-4653-9B79-C92484DE10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70638" y="1268413"/>
            <a:ext cx="5364162" cy="4645024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Title 5">
            <a:extLst>
              <a:ext uri="{FF2B5EF4-FFF2-40B4-BE49-F238E27FC236}">
                <a16:creationId xmlns:a16="http://schemas.microsoft.com/office/drawing/2014/main" id="{FC62AC44-5E58-495C-B892-3FA228606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31" name="Rechthoek 6">
            <a:extLst>
              <a:ext uri="{FF2B5EF4-FFF2-40B4-BE49-F238E27FC236}">
                <a16:creationId xmlns:a16="http://schemas.microsoft.com/office/drawing/2014/main" id="{E76D8733-B13D-4335-993F-D33168BB5BAB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32" name="Footer Placeholder 4">
            <a:extLst>
              <a:ext uri="{FF2B5EF4-FFF2-40B4-BE49-F238E27FC236}">
                <a16:creationId xmlns:a16="http://schemas.microsoft.com/office/drawing/2014/main" id="{FAE3EB92-5365-4B2E-BAB3-67D8D8A646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149178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1929384"/>
            <a:ext cx="3008376" cy="2871216"/>
          </a:xfrm>
        </p:spPr>
        <p:txBody>
          <a:bodyPr/>
          <a:lstStyle>
            <a:lvl1pPr algn="ctr">
              <a:defRPr sz="3600" cap="none"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 </a:t>
            </a:r>
            <a:r>
              <a:rPr lang="nl-NL" err="1"/>
              <a:t>text</a:t>
            </a:r>
            <a:endParaRPr lang="nl-NL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477C02C4-DFF4-4C74-989D-7824EBDB18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04847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wrap="square">
            <a:noAutofit/>
          </a:bodyPr>
          <a:lstStyle>
            <a:lvl1pPr algn="ctr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text</a:t>
            </a:r>
            <a:endParaRPr lang="nl-NL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CF632302-A421-4D5A-BC58-CEE791095A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7955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2B0D464F-B544-4F4F-8046-D4CA13DEFA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 algn="ctr">
              <a:defRPr sz="2800" b="1" cap="none">
                <a:solidFill>
                  <a:schemeClr val="accent3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CE5E0C-87A6-4ED4-9663-0FB5031491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07026" y="2046128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C745001-E554-445E-B5F4-22A6B3A473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537477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F9174B8-ABB4-4D17-B30F-94065F9E9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3028826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5EFAFDF-AC6D-418E-B5C3-14B47A05D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3975" y="2046128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BCB9B9F-6EA6-4D1D-8DA5-02AC4CA48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537477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0BCAF6A-10BB-4651-8A2F-E4A90B396C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3028826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pic>
        <p:nvPicPr>
          <p:cNvPr id="19" name="Afbeelding 10">
            <a:extLst>
              <a:ext uri="{FF2B5EF4-FFF2-40B4-BE49-F238E27FC236}">
                <a16:creationId xmlns:a16="http://schemas.microsoft.com/office/drawing/2014/main" id="{F3727EC5-75F3-4BC6-906D-DD03940EFA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6" name="Tekstvak 8">
            <a:extLst>
              <a:ext uri="{FF2B5EF4-FFF2-40B4-BE49-F238E27FC236}">
                <a16:creationId xmlns:a16="http://schemas.microsoft.com/office/drawing/2014/main" id="{45ACB79C-F4D3-43E2-AFFE-A57EA412ECBC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645821B-41F7-427B-91EB-897654A9C3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7026" y="3520175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56BEDAE-CF0A-4C23-B032-A299E14E7E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4011524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6054A2-AC8C-49FA-9301-66771C8834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502873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8AF22D2-B94F-455A-AAF8-71E1F6A6D7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3975" y="3520175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E02370D-6242-4EAA-88EC-4C4C76D67A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4011524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C72A589-6234-4714-9E20-C6C69DA1B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502873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20" name="Rechthoek 6">
            <a:extLst>
              <a:ext uri="{FF2B5EF4-FFF2-40B4-BE49-F238E27FC236}">
                <a16:creationId xmlns:a16="http://schemas.microsoft.com/office/drawing/2014/main" id="{C3090DF8-5722-4FB2-9144-09BE5797C6A5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9994F9A-45E6-4F0D-9C02-BE3EB07271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17292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 - Dark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2846"/>
            <a:ext cx="11278800" cy="553998"/>
          </a:xfrm>
        </p:spPr>
        <p:txBody>
          <a:bodyPr wrap="square" anchor="b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625269"/>
            <a:ext cx="11278800" cy="276999"/>
          </a:xfrm>
        </p:spPr>
        <p:txBody>
          <a:bodyPr wrap="squar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add subtitle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5CF6584-964E-C64E-ACB0-13971D92BD9D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048D9DB-75FC-AF45-812A-A82887A31C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2" name="Rechthoek 6">
            <a:extLst>
              <a:ext uri="{FF2B5EF4-FFF2-40B4-BE49-F238E27FC236}">
                <a16:creationId xmlns:a16="http://schemas.microsoft.com/office/drawing/2014/main" id="{46FAE0A0-3C36-4FC0-A112-10209C766BBD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3804131A-659E-4C56-AFE6-89003B2DB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01531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wrap="square" anchor="b" anchorCtr="0">
            <a:noAutofit/>
          </a:bodyPr>
          <a:lstStyle>
            <a:lvl1pPr algn="ctr">
              <a:defRPr sz="420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Click to insert your </a:t>
            </a:r>
            <a:br>
              <a:rPr lang="en-US"/>
            </a:br>
            <a:r>
              <a:rPr lang="en-US"/>
              <a:t>closing title here</a:t>
            </a:r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E6C9C7F-E8B5-4E1A-8D87-18B882B66C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18528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sp>
        <p:nvSpPr>
          <p:cNvPr id="5" name="Tekstvak 6">
            <a:extLst>
              <a:ext uri="{FF2B5EF4-FFF2-40B4-BE49-F238E27FC236}">
                <a16:creationId xmlns:a16="http://schemas.microsoft.com/office/drawing/2014/main" id="{CE839B3F-DCEB-4D95-A08D-B8118908443A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78E80FA-6278-4706-A94F-F688D6065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0" name="Rechthoek 6">
            <a:extLst>
              <a:ext uri="{FF2B5EF4-FFF2-40B4-BE49-F238E27FC236}">
                <a16:creationId xmlns:a16="http://schemas.microsoft.com/office/drawing/2014/main" id="{BA9762B2-BEEF-4307-B4F0-01591D7E8607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bg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2914165-5A10-4971-B9D0-AFD04A6E2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rgbClr val="888888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solidFill>
                  <a:schemeClr val="bg1"/>
                </a:solidFill>
                <a:cs typeface="Arial" panose="020B0604020202020204" pitchFamily="34" charset="0"/>
              </a:rPr>
              <a:t>C2 VodafoneZigg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472573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17AF0-2570-4AAA-B0CB-B8CFF3FFD0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D7D5A7-E049-44DD-B9E3-E160CF1C2F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7B7204E7-092E-4275-B19E-90A4E9365D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459" y="1412876"/>
            <a:ext cx="11380258" cy="451273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 b="1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B240724-8BD4-46D4-82C8-23F1702455A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7458" y="946931"/>
            <a:ext cx="11371054" cy="225703"/>
          </a:xfrm>
        </p:spPr>
        <p:txBody>
          <a:bodyPr wrap="square" tIns="0" bIns="0" anchor="t" anchorCtr="0">
            <a:spAutoFit/>
          </a:bodyPr>
          <a:lstStyle>
            <a:lvl1pPr marL="0" indent="0">
              <a:lnSpc>
                <a:spcPct val="100000"/>
              </a:lnSpc>
              <a:buNone/>
              <a:defRPr sz="1467" b="0" cap="none" baseline="0">
                <a:solidFill>
                  <a:schemeClr val="tx2"/>
                </a:solidFill>
                <a:latin typeface="+mn-lt"/>
              </a:defRPr>
            </a:lvl1pPr>
            <a:lvl2pPr marL="609630" indent="0">
              <a:buNone/>
              <a:defRPr sz="2667" b="1"/>
            </a:lvl2pPr>
            <a:lvl3pPr marL="1219261" indent="0">
              <a:buNone/>
              <a:defRPr sz="2400" b="1"/>
            </a:lvl3pPr>
            <a:lvl4pPr marL="1828891" indent="0">
              <a:buNone/>
              <a:defRPr sz="2133" b="1"/>
            </a:lvl4pPr>
            <a:lvl5pPr marL="2438522" indent="0">
              <a:buNone/>
              <a:defRPr sz="2133" b="1"/>
            </a:lvl5pPr>
            <a:lvl6pPr marL="3048152" indent="0">
              <a:buNone/>
              <a:defRPr sz="2133" b="1"/>
            </a:lvl6pPr>
            <a:lvl7pPr marL="3657783" indent="0">
              <a:buNone/>
              <a:defRPr sz="2133" b="1"/>
            </a:lvl7pPr>
            <a:lvl8pPr marL="4267413" indent="0">
              <a:buNone/>
              <a:defRPr sz="2133" b="1"/>
            </a:lvl8pPr>
            <a:lvl9pPr marL="4877044" indent="0">
              <a:buNone/>
              <a:defRPr sz="2133" b="1"/>
            </a:lvl9pPr>
          </a:lstStyle>
          <a:p>
            <a:pPr lvl="0"/>
            <a:r>
              <a:rPr lang="en-US"/>
              <a:t>+ Subtitle</a:t>
            </a:r>
          </a:p>
        </p:txBody>
      </p:sp>
    </p:spTree>
    <p:extLst>
      <p:ext uri="{BB962C8B-B14F-4D97-AF65-F5344CB8AC3E}">
        <p14:creationId xmlns:p14="http://schemas.microsoft.com/office/powerpoint/2010/main" val="2361343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594963" y="6628282"/>
            <a:ext cx="139837" cy="139701"/>
          </a:xfrm>
          <a:prstGeom prst="rect">
            <a:avLst/>
          </a:prstGeom>
        </p:spPr>
        <p:txBody>
          <a:bodyPr anchor="t"/>
          <a:lstStyle>
            <a:lvl1pPr>
              <a:defRPr sz="900">
                <a:solidFill>
                  <a:srgbClr val="575756"/>
                </a:solidFill>
                <a:latin typeface="Averta Std Light"/>
                <a:ea typeface="Averta Std Light"/>
                <a:cs typeface="Averta Std Light"/>
                <a:sym typeface="Averta Std Light"/>
              </a:defRPr>
            </a:lvl1pPr>
          </a:lstStyle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369" name="MSIPCMContentMarking"/>
          <p:cNvSpPr txBox="1"/>
          <p:nvPr/>
        </p:nvSpPr>
        <p:spPr>
          <a:xfrm>
            <a:off x="11213" y="6679641"/>
            <a:ext cx="1494902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0" tIns="0" rIns="0" bIns="0" anchor="ctr">
            <a:spAutoFit/>
          </a:bodyPr>
          <a:lstStyle>
            <a:lvl1pPr algn="ctr">
              <a:defRPr sz="800">
                <a:solidFill>
                  <a:srgbClr val="737373"/>
                </a:solidFill>
              </a:defRPr>
            </a:lvl1pPr>
          </a:lstStyle>
          <a:p>
            <a:r>
              <a:t>C2 VodafoneZiggo Internal</a:t>
            </a:r>
          </a:p>
        </p:txBody>
      </p:sp>
      <p:sp>
        <p:nvSpPr>
          <p:cNvPr id="370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457200" y="1785599"/>
            <a:ext cx="11278800" cy="409680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</a:lvl1pPr>
            <a:lvl2pPr>
              <a:lnSpc>
                <a:spcPct val="100000"/>
              </a:lnSpc>
              <a:spcBef>
                <a:spcPts val="0"/>
              </a:spcBef>
            </a:lvl2pPr>
            <a:lvl3pPr>
              <a:lnSpc>
                <a:spcPct val="100000"/>
              </a:lnSpc>
              <a:spcBef>
                <a:spcPts val="0"/>
              </a:spcBef>
            </a:lvl3pPr>
            <a:lvl4pPr>
              <a:lnSpc>
                <a:spcPct val="100000"/>
              </a:lnSpc>
              <a:spcBef>
                <a:spcPts val="0"/>
              </a:spcBef>
            </a:lvl4pPr>
            <a:lvl5pPr>
              <a:lnSpc>
                <a:spcPct val="100000"/>
              </a:lnSpc>
              <a:spcBef>
                <a:spcPts val="0"/>
              </a:spcBef>
            </a:lvl5pPr>
          </a:lstStyle>
          <a:p>
            <a:r>
              <a:t>Bodycopy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37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457200" y="587824"/>
            <a:ext cx="11277600" cy="387799"/>
          </a:xfrm>
          <a:prstGeom prst="rect">
            <a:avLst/>
          </a:prstGeom>
        </p:spPr>
        <p:txBody>
          <a:bodyPr anchor="b"/>
          <a:lstStyle/>
          <a:p>
            <a:r>
              <a:t>Slide title</a:t>
            </a:r>
          </a:p>
        </p:txBody>
      </p:sp>
      <p:sp>
        <p:nvSpPr>
          <p:cNvPr id="372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57199" y="1193653"/>
            <a:ext cx="11277601" cy="249300"/>
          </a:xfrm>
          <a:prstGeom prst="rect">
            <a:avLst/>
          </a:prstGeom>
        </p:spPr>
        <p:txBody>
          <a:bodyPr>
            <a:normAutofit/>
          </a:bodyPr>
          <a:lstStyle>
            <a:lvl1pPr defTabSz="886945">
              <a:lnSpc>
                <a:spcPct val="90000"/>
              </a:lnSpc>
              <a:spcBef>
                <a:spcPts val="0"/>
              </a:spcBef>
              <a:tabLst>
                <a:tab pos="1727200" algn="l"/>
              </a:tabLst>
              <a:defRPr sz="1746" cap="all">
                <a:latin typeface="Averta Std Black"/>
                <a:ea typeface="Averta Std Black"/>
                <a:cs typeface="Averta Std Black"/>
                <a:sym typeface="Averta Std Black"/>
              </a:defRPr>
            </a:lvl1pPr>
          </a:lstStyle>
          <a:p>
            <a:r>
              <a:t>INSERT SUBHEADING HERE</a:t>
            </a:r>
          </a:p>
        </p:txBody>
      </p:sp>
    </p:spTree>
    <p:extLst>
      <p:ext uri="{BB962C8B-B14F-4D97-AF65-F5344CB8AC3E}">
        <p14:creationId xmlns:p14="http://schemas.microsoft.com/office/powerpoint/2010/main" val="1537110779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286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10361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545238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1183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1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DD91852-417F-4DD0-AECA-7045D966952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29" name="Tekstvak 6">
            <a:extLst>
              <a:ext uri="{FF2B5EF4-FFF2-40B4-BE49-F238E27FC236}">
                <a16:creationId xmlns:a16="http://schemas.microsoft.com/office/drawing/2014/main" id="{34B4505E-6248-4349-8207-CAACAF359DBE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621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2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494653"/>
            <a:ext cx="8983864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D7791FA-B043-204F-B3E7-D591D6E3F79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864B076-883B-4244-8D2E-1E403399A5DB}"/>
              </a:ext>
            </a:extLst>
          </p:cNvPr>
          <p:cNvGrpSpPr/>
          <p:nvPr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230B405-7563-4FFD-B436-F1793C4342E2}"/>
                </a:ext>
              </a:extLst>
            </p:cNvPr>
            <p:cNvGrpSpPr/>
            <p:nvPr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DF046661-4379-41C6-A2B7-A9530E05679C}"/>
                  </a:ext>
                </a:extLst>
              </p:cNvPr>
              <p:cNvGrpSpPr/>
              <p:nvPr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C54A6647-68D4-4038-BB62-C96F83E7C2FD}"/>
                    </a:ext>
                  </a:extLst>
                </p:cNvPr>
                <p:cNvSpPr/>
                <p:nvPr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EE124C7D-85D6-4026-A02A-9E15DE1169F4}"/>
                    </a:ext>
                  </a:extLst>
                </p:cNvPr>
                <p:cNvSpPr txBox="1"/>
                <p:nvPr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53483750-F2C1-4D9C-AA10-9813FF6C27E0}"/>
                    </a:ext>
                  </a:extLst>
                </p:cNvPr>
                <p:cNvSpPr txBox="1"/>
                <p:nvPr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7FBC96CF-6BD7-453B-B8D7-628708C71C59}"/>
                    </a:ext>
                  </a:extLst>
                </p:cNvPr>
                <p:cNvSpPr txBox="1"/>
                <p:nvPr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4248ED1-E432-40EE-9B28-99A47F23DAD6}"/>
                  </a:ext>
                </a:extLst>
              </p:cNvPr>
              <p:cNvSpPr/>
              <p:nvPr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1FB0D81-6D92-4B6F-8230-42EDBF69ADF4}"/>
                  </a:ext>
                </a:extLst>
              </p:cNvPr>
              <p:cNvSpPr txBox="1"/>
              <p:nvPr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9917DE-CB0F-41F0-A4D6-FFC75BA465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73F93194-AAD5-4E70-9FA4-25601F14ED8E}"/>
              </a:ext>
            </a:extLst>
          </p:cNvPr>
          <p:cNvSpPr/>
          <p:nvPr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494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2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D4A846-C908-495B-BBE9-06B040463D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64716EC-13D8-6546-ABBF-887C848D713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876CC9A-B8C7-40D8-81A1-F5CCFD02D2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9" y="2494653"/>
            <a:ext cx="9341269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E55C125-F87E-49DF-B04F-655A0AB6E8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1929DF5-CC09-4711-866E-219AA931F2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85900D-5B7C-42ED-9489-649733ECCF95}"/>
              </a:ext>
            </a:extLst>
          </p:cNvPr>
          <p:cNvGrpSpPr/>
          <p:nvPr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733D0D8-62E2-4024-9B50-E6D551D035AC}"/>
                </a:ext>
              </a:extLst>
            </p:cNvPr>
            <p:cNvGrpSpPr/>
            <p:nvPr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5224639-F221-4FAC-B883-4F1C2303C8AF}"/>
                  </a:ext>
                </a:extLst>
              </p:cNvPr>
              <p:cNvGrpSpPr/>
              <p:nvPr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DED50C5B-537A-4E41-AD12-A08C0E4CA157}"/>
                    </a:ext>
                  </a:extLst>
                </p:cNvPr>
                <p:cNvSpPr/>
                <p:nvPr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67B4DE3-0B46-4431-9A23-11BD3C7206D6}"/>
                    </a:ext>
                  </a:extLst>
                </p:cNvPr>
                <p:cNvSpPr txBox="1"/>
                <p:nvPr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ACCF5B65-E979-49A4-8EAA-177E707A41BF}"/>
                    </a:ext>
                  </a:extLst>
                </p:cNvPr>
                <p:cNvSpPr txBox="1"/>
                <p:nvPr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CB182F4-B74E-43ED-AFE9-401557C1EB00}"/>
                    </a:ext>
                  </a:extLst>
                </p:cNvPr>
                <p:cNvSpPr txBox="1"/>
                <p:nvPr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EC54A7E-D1A4-4926-BBF3-8E6586664776}"/>
                  </a:ext>
                </a:extLst>
              </p:cNvPr>
              <p:cNvSpPr/>
              <p:nvPr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A529B28-2B34-4D40-A3F2-1BCD55E48873}"/>
                  </a:ext>
                </a:extLst>
              </p:cNvPr>
              <p:cNvSpPr txBox="1"/>
              <p:nvPr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D048382-CC46-4AF3-B176-B772FE15B3A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18C1835-43CD-4B85-8CFB-EDBC1A1A36BC}"/>
              </a:ext>
            </a:extLst>
          </p:cNvPr>
          <p:cNvSpPr/>
          <p:nvPr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433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6" t="104" r="196" b="104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042400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4B2D21F-74FF-5946-BCAC-A522F65FA954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8515876C-9CE8-DE4E-95FA-1A9FC3D3DA10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28137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35D5821-B496-4D0E-8F62-F2539FC123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6C807B-22CA-4C05-8DB0-969A7B5A1F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FF8941CB-5E1B-4613-8E8D-C6E3E1AD2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B74E17-B6F9-40E9-A905-A46AA0D78F3E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245C582-E8F8-4FF1-9A49-9EFCAEF170E4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68B80EB-4A78-41FC-AC14-EFDF0D3CB6E1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1F95E2C-372F-412F-9D9B-8D14205F5E98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060A03E-D9BA-479E-9B81-5DF91D78E633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F9A30002-6853-488D-9E4C-8166E9C2625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654D550-2C40-45C6-B121-ABC6BC637566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B8960EE-0694-4093-8052-2C1B06CF080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6E36F89-3ADE-47A7-A2DA-1901E77EEAE9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65B85CE-825A-421A-B55C-8CAD4559CD7F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5863EA96-B9FC-4601-86AF-AA9CAC4E4AB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45E4A1F-F8F8-4D25-956C-B29D9566CF92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4666478-5719-4CCF-9E6B-1D329A5F854D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16ED59E-E9D5-4B39-A773-175AF0C1E10B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991225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281283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A110878-766D-4D79-9E75-8EF8DB77BA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5151326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4B2D21F-74FF-5946-BCAC-A522F65FA954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8515876C-9CE8-DE4E-95FA-1A9FC3D3DA10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3"/>
            <a:ext cx="112788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A64464-C7C2-4D6F-825B-54E493D5C2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596FCFE-20FB-421D-AF42-F579EC6BC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1FD016B-1A59-46C8-B0E3-8063D7B2BA0D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94EEC0-4C26-42D1-AC91-506B181B6979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7F42345-541E-49B3-A2CE-252FA31495F4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F0CBB62-45D7-4DED-B8C0-87664902077B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1E0FC72-742F-432C-A177-814F4D856BB4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F9EC322C-2F95-41F2-A474-46C8E35D0CB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7F4C805E-41FD-4F79-AAB2-ADCBC71F5946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C8191F62-4BEE-481C-9078-C41A4D5AE2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046F1C5-F469-4110-ADC8-93BD156B8B80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15AA3333-E135-4FF1-863C-D15CCA8F56A4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BA09B532-5ED8-4695-9ADD-F6E27F12D77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E24E52ED-FC05-4A06-9E50-52596C6305E1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4BD712-2E16-4F88-BF10-1791D1D2A934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0D0EF77-043B-45CD-93D5-B0C5CB74D149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72337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11278800" cy="464502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D303E3-F4F6-44EB-B27B-54033F89B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E44D63D-EA75-492E-972C-BD491036DA4C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849C36D-5EDB-4A61-BB29-48B1646030FF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3F9B054A-8D23-46B4-B8C7-7FBC3777E0CE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2BC1632-4B45-4A60-B411-B5E6EC337A6B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8C3E602-B65F-485A-909F-13238EA36899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3248058-2B01-4265-B39A-44995C45C7B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C83643C-6D26-4D74-8840-AD431CBDE982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1C6E8576-9B30-48F8-BAC9-24369696BEE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FFA42B4E-1247-4FF7-B89B-7D78F44BA162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F690EB9-4001-4B86-B625-D0BAA3212CD0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F2158E2-5018-4882-A509-0A273983E1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AD4248B-42F7-4960-B8D4-3AFEEB47F637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9B237AA-5F39-4BB2-B2DD-C7CF4935A1FB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75E1635-F97A-4BA8-8212-C7A8F0097681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168583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A29BF28-3E92-B343-849B-689A9B60B5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832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B47951CC-639E-2749-8E96-1EAB025B0F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1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B455C66-D33C-4707-91F9-690A605EC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3DFC003B-434C-45F0-8F1F-E0D536578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8BE50-52E7-4FFE-A17A-6A26EF30C323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8AAB328-26AF-4337-A352-B73FBFF56918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C978ACE-7191-4D49-A920-915AFF2A540C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AF9A32E-E297-4839-A1AE-C39E06E847FD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42A764E2-FD8A-4D4C-9740-3744D917CC47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26564381-C6F0-4195-B2B9-940024EFA90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4E04CBA-E48C-44A2-81B0-314361A62CA8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CCD9F829-FE0C-4077-98EE-C372A6E31E2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B818DE4B-86D7-4F16-B7B3-5449200B34F8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30CAEEB-D0EB-470A-AC87-3F0E4BA77785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C721F19E-B96B-4707-A21F-ABA36C8F90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EF2825C-A1A4-4083-A11C-E392AD9F52DF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378CD3-8E85-43DF-BC6D-904025C27F16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CC4CB4C-F0D7-44DF-92EF-3DC0003A6FC7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7103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639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7ADC4CBB-BF49-4B73-988C-ECCDD03561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5C643677-D14B-495B-A606-261D1D02AC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419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BLOCKS OF CONTENT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017065E-D3D6-1B49-9AB3-291E6A6B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FC5CF9A-6658-3A49-B88F-300B19B5C2B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A02D8D03-2EC3-A048-8DDB-095B8943D5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BD5C9915-B3B7-CA4C-8844-3F6901A0F9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08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503733E-8C6D-4292-BDA5-EB1E18C8BE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EF67E1C7-EBCA-4E0D-9AD9-CF513C333F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F5AFE14-547A-4776-B5B5-A8D14F2519C7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7D108DA-6615-466B-A7D7-23A8950852F1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9A1BD46-170B-4BCE-A8DA-E5622B1754B1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E8E1C49-2A8D-4679-AD24-37ADF66A5A2F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B1AEF85-AEB8-4AAA-8A64-15F25438E196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BCC8BC15-1C12-4589-99CF-361B7B3099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87D2002-3E5B-4CB1-817C-98E6D32DF213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63FFE66F-DB05-49B9-B217-FCEABB62CA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7F17D26-67E9-43AA-8B6A-62002CA40A10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EA18C66-711A-420E-AAE1-CF219139AB44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6CE8A108-66D3-47B6-B30C-1145A70731B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711B56A-AD48-4D02-A9DC-30C8D0D0FC1F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0A4FAC-09D6-4AFD-9B9E-DD17071DFEE6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4510B79-14A2-4314-B78E-AB784F90DF82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32808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BLOCKS OF 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EE0CD1D1-D17F-E749-AABE-293DC0B19D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39BD4A7B-59D1-4D48-AFE5-57A871BDB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05FF2C08-9891-4AA8-B1C5-362F6D8EE7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3B7FF43-C583-499B-BAC5-7B70047DA7BB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D33EF55-A78B-4398-92C6-4C6457EE02CE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5854B693-75FA-4D7D-A634-A4DD80BF4B57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DFD6CB6-9161-42C8-97D3-8A0470503B36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ECCEDB8-560D-4599-A2A6-21336BDB260C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6E7E2E90-C951-4E72-BDFD-515EBC5AE83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C6A85A0-4204-44D1-BA8C-0BE1CBD3D8C5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E95FCBBA-9650-4860-99F0-2E25AE9BAD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20C09F1-F36D-436F-85EB-99887B7708B4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F60E0F08-9274-4B61-844F-A049D05DB5B4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AFBB3A22-C903-4A29-95D9-777531C1B3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CE0BFA7-098A-421D-842C-106BA3AB565E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3297216-58FE-4036-A279-E3412B089EAE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2ABB7C7-8682-4A0E-A3A0-A3507835D5AE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C1C6C-B8D9-45B5-86EC-B2ABEEF9E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FF4D5CA-D5DE-4363-B6DC-CDC4F3A07E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hthoek 11">
            <a:extLst>
              <a:ext uri="{FF2B5EF4-FFF2-40B4-BE49-F238E27FC236}">
                <a16:creationId xmlns:a16="http://schemas.microsoft.com/office/drawing/2014/main" id="{DFDD3643-4363-4E86-8E2F-40301880D626}"/>
              </a:ext>
            </a:extLst>
          </p:cNvPr>
          <p:cNvSpPr/>
          <p:nvPr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26" name="Afbeelding 10">
            <a:extLst>
              <a:ext uri="{FF2B5EF4-FFF2-40B4-BE49-F238E27FC236}">
                <a16:creationId xmlns:a16="http://schemas.microsoft.com/office/drawing/2014/main" id="{9B42AD25-2B2C-4E4E-97C8-80121DF917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7" name="Tekstvak 8">
            <a:extLst>
              <a:ext uri="{FF2B5EF4-FFF2-40B4-BE49-F238E27FC236}">
                <a16:creationId xmlns:a16="http://schemas.microsoft.com/office/drawing/2014/main" id="{BD06871B-CF5A-49B7-81C6-E53FE0AE4DF7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ekstvak 12">
            <a:extLst>
              <a:ext uri="{FF2B5EF4-FFF2-40B4-BE49-F238E27FC236}">
                <a16:creationId xmlns:a16="http://schemas.microsoft.com/office/drawing/2014/main" id="{6789C0B0-D5C9-4850-A055-78AF55C7829E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4E44C398-7086-421C-8D89-9ABFA017C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478143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BLOCKS OF 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id="{413E51A4-8DC4-F046-9665-4F2F8A5E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503733E-8C6D-4292-BDA5-EB1E18C8BE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20" name="Tijdelijke aanduiding voor tekst 10">
            <a:extLst>
              <a:ext uri="{FF2B5EF4-FFF2-40B4-BE49-F238E27FC236}">
                <a16:creationId xmlns:a16="http://schemas.microsoft.com/office/drawing/2014/main" id="{060DF265-34FA-499F-818C-7868BD7F25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B5C5EB5E-0059-4027-9DDE-A388584532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64B8AD4-9981-4946-8AD3-248D2BEA01D9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B1DAD58-A8B0-46D8-8AAB-3D366AF4249D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7ED6D205-CFDD-4502-B873-E667737F0509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BACC5E54-DB6F-441B-8D45-D33CE4A52F2F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E81D5DF-1595-4EC2-96EF-783D66493011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7837C4B9-3836-4D3A-83A1-1CC36003001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0432AE4-7EC9-4046-9CEB-8FAE07F9A407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3E8579BA-9FF4-46D4-8C3D-E449FEC84C6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CC335B13-69ED-4A68-9004-5C8711BF7B22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BDAAB16B-FFD3-42B9-9F94-40A3A755B7D1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6900A3E7-654F-4AE2-9B2E-8871A079D5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6B6DC63C-82F1-4DEC-9D87-619132B7ACDC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3F9A06D-9413-40D5-B315-8B7B0DE3C318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1F7D0A0-7792-43DB-9505-3BF374E6E965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AFCB36C-7E50-4D11-9511-F441AF6915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0EFF78F-A3E2-4DFC-BBC2-21147266CF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99913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6370799" y="1268413"/>
            <a:ext cx="5364000" cy="4645025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Klik op het pictogram als u een afbeelding wilt toevoegen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821BADE0-152B-E541-860D-1589F735C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5360595-19A2-4076-8FE8-3BD56FACC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D799EB3-0FB5-4825-8698-C001C6192A68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711EE48-0B50-4FBF-AC34-085DFCB419D4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E73B9489-C00D-4985-A9D2-441C72A594CE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9A759C3-D93C-4DB4-9170-A7D947101E44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140767C-562F-46FA-87ED-B5658AB94C49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50D1711-611D-4926-A268-3585F1C693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3EF15ED-0798-4B52-8D66-609984054A84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F7A17F98-952D-41AC-B5E3-A2ED9746ED2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CF6B510-B3F9-4C81-B9AD-0E736D4A2E19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42AC410-D4DD-417E-980E-859292F30292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795C6239-B924-4A15-A0D7-C4DBC169CB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A54095E-708D-4F1B-8719-101FC67EE5ED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B2FFEB-8CB4-4482-B503-3F5B868B1826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522FEEE-C9CC-4973-B969-A144B19394E0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73776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+ IMAG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256B494-B1FC-45D1-B56A-C624187D0F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4EBC3F-681F-46FC-A9E3-D6A44784E342}"/>
              </a:ext>
            </a:extLst>
          </p:cNvPr>
          <p:cNvSpPr/>
          <p:nvPr/>
        </p:nvSpPr>
        <p:spPr>
          <a:xfrm>
            <a:off x="0" y="-978251"/>
            <a:ext cx="12192000" cy="74267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800">
                <a:solidFill>
                  <a:schemeClr val="bg1"/>
                </a:solidFill>
              </a:rPr>
              <a:t>General content placeholders are confusing for some users. Use specific placeholders for the slide purpose.</a:t>
            </a:r>
            <a:endParaRPr lang="en-NL" sz="1800" err="1">
              <a:solidFill>
                <a:schemeClr val="bg1"/>
              </a:solidFill>
            </a:endParaRP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98AB9C8-003D-4653-9B79-C92484DE10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70638" y="1268413"/>
            <a:ext cx="5364162" cy="4645024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392542-15DA-4788-A435-C21A1307CBC3}"/>
              </a:ext>
            </a:extLst>
          </p:cNvPr>
          <p:cNvGrpSpPr/>
          <p:nvPr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F257F15-4FBA-482B-A7BE-3F3D8B975096}"/>
                </a:ext>
              </a:extLst>
            </p:cNvPr>
            <p:cNvGrpSpPr/>
            <p:nvPr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949D83C-817D-4BF3-B6A5-973561D42CE8}"/>
                  </a:ext>
                </a:extLst>
              </p:cNvPr>
              <p:cNvSpPr/>
              <p:nvPr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4ED8E3E-E4A4-44DF-A4A3-FAC837B154B1}"/>
                  </a:ext>
                </a:extLst>
              </p:cNvPr>
              <p:cNvSpPr txBox="1"/>
              <p:nvPr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AC5B037-6019-408B-A5B5-9E9AA2A30836}"/>
                  </a:ext>
                </a:extLst>
              </p:cNvPr>
              <p:cNvSpPr txBox="1"/>
              <p:nvPr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3947B10F-FB97-42F8-9126-67B23E2C8C1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4A25190-E9A1-4324-B640-3E8B76655C80}"/>
                  </a:ext>
                </a:extLst>
              </p:cNvPr>
              <p:cNvSpPr txBox="1"/>
              <p:nvPr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D99C4FF4-91A7-4011-ADB6-8A529D4C326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97BEA00-0BCA-4409-A424-772C33B6913F}"/>
                  </a:ext>
                </a:extLst>
              </p:cNvPr>
              <p:cNvSpPr/>
              <p:nvPr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023BC3B-F446-459A-B34D-EE8B86B8157E}"/>
                  </a:ext>
                </a:extLst>
              </p:cNvPr>
              <p:cNvSpPr txBox="1"/>
              <p:nvPr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A0ABD09F-6A50-409D-A4A6-4EE5CBBA64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65C7E8B-03F8-4ACA-87C0-37285A9F7932}"/>
                  </a:ext>
                </a:extLst>
              </p:cNvPr>
              <p:cNvSpPr txBox="1"/>
              <p:nvPr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78DA63D-197D-4C10-8AC1-F5E1569EFC17}"/>
                </a:ext>
              </a:extLst>
            </p:cNvPr>
            <p:cNvSpPr/>
            <p:nvPr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136C34-8CA1-4BCF-8065-EA18AEFE43CF}"/>
                </a:ext>
              </a:extLst>
            </p:cNvPr>
            <p:cNvSpPr txBox="1"/>
            <p:nvPr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30" name="Title 5">
            <a:extLst>
              <a:ext uri="{FF2B5EF4-FFF2-40B4-BE49-F238E27FC236}">
                <a16:creationId xmlns:a16="http://schemas.microsoft.com/office/drawing/2014/main" id="{FC62AC44-5E58-495C-B892-3FA228606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329598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1929384"/>
            <a:ext cx="3008376" cy="2871216"/>
          </a:xfrm>
        </p:spPr>
        <p:txBody>
          <a:bodyPr/>
          <a:lstStyle>
            <a:lvl1pPr algn="ctr">
              <a:defRPr sz="3600" cap="none"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 </a:t>
            </a:r>
            <a:r>
              <a:rPr lang="nl-NL" err="1"/>
              <a:t>tex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539526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wrap="square">
            <a:noAutofit/>
          </a:bodyPr>
          <a:lstStyle>
            <a:lvl1pPr algn="ctr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tex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143951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2B0D464F-B544-4F4F-8046-D4CA13DEFA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 algn="ctr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CE5E0C-87A6-4ED4-9663-0FB5031491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07026" y="2046128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C745001-E554-445E-B5F4-22A6B3A473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537477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F9174B8-ABB4-4D17-B30F-94065F9E9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3028826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5EFAFDF-AC6D-418E-B5C3-14B47A05D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3975" y="2046128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BCB9B9F-6EA6-4D1D-8DA5-02AC4CA48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537477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0BCAF6A-10BB-4651-8A2F-E4A90B396C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3028826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8" name="Rechthoek 11">
            <a:extLst>
              <a:ext uri="{FF2B5EF4-FFF2-40B4-BE49-F238E27FC236}">
                <a16:creationId xmlns:a16="http://schemas.microsoft.com/office/drawing/2014/main" id="{A9CCE221-3DDD-480A-841B-3D4ED08B4088}"/>
              </a:ext>
            </a:extLst>
          </p:cNvPr>
          <p:cNvSpPr/>
          <p:nvPr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19" name="Afbeelding 10">
            <a:extLst>
              <a:ext uri="{FF2B5EF4-FFF2-40B4-BE49-F238E27FC236}">
                <a16:creationId xmlns:a16="http://schemas.microsoft.com/office/drawing/2014/main" id="{F3727EC5-75F3-4BC6-906D-DD03940EFA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6" name="Tekstvak 8">
            <a:extLst>
              <a:ext uri="{FF2B5EF4-FFF2-40B4-BE49-F238E27FC236}">
                <a16:creationId xmlns:a16="http://schemas.microsoft.com/office/drawing/2014/main" id="{45ACB79C-F4D3-43E2-AFFE-A57EA412ECBC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Tekstvak 12">
            <a:extLst>
              <a:ext uri="{FF2B5EF4-FFF2-40B4-BE49-F238E27FC236}">
                <a16:creationId xmlns:a16="http://schemas.microsoft.com/office/drawing/2014/main" id="{ACE19F35-93A7-4091-8A95-9528595EC5DF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39D9A68A-76F0-4E16-8B22-FE9F1973C9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645821B-41F7-427B-91EB-897654A9C3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7026" y="3520175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56BEDAE-CF0A-4C23-B032-A299E14E7E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4011524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6054A2-AC8C-49FA-9301-66771C8834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502873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8AF22D2-B94F-455A-AAF8-71E1F6A6D7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3975" y="3520175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E02370D-6242-4EAA-88EC-4C4C76D67A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4011524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C72A589-6234-4714-9E20-C6C69DA1B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502873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26877978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ING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2846"/>
            <a:ext cx="11278800" cy="553998"/>
          </a:xfrm>
        </p:spPr>
        <p:txBody>
          <a:bodyPr wrap="square" anchor="b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625269"/>
            <a:ext cx="11278800" cy="276999"/>
          </a:xfrm>
        </p:spPr>
        <p:txBody>
          <a:bodyPr wrap="squar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add subtitle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5D8DB305-B40E-4D42-B178-8D6517AE122B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5CF6584-964E-C64E-ACB0-13971D92BD9D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69BFCC6B-8E63-0142-8B0E-20010B9AF74D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048D9DB-75FC-AF45-812A-A82887A31C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7292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wrap="square" anchor="b" anchorCtr="0">
            <a:noAutofit/>
          </a:bodyPr>
          <a:lstStyle>
            <a:lvl1pPr algn="ctr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insert your </a:t>
            </a:r>
            <a:br>
              <a:rPr lang="en-US"/>
            </a:br>
            <a:r>
              <a:rPr lang="en-US"/>
              <a:t>closing title here</a:t>
            </a:r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07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5814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7600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0FC27A1-3A95-4F2E-8F1B-9CB3FA01C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8" name="Title 5">
            <a:extLst>
              <a:ext uri="{FF2B5EF4-FFF2-40B4-BE49-F238E27FC236}">
                <a16:creationId xmlns:a16="http://schemas.microsoft.com/office/drawing/2014/main" id="{DCF2CE51-22A3-4807-A8BE-E0886C3271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5269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sp>
        <p:nvSpPr>
          <p:cNvPr id="4" name="Rechthoek 4">
            <a:extLst>
              <a:ext uri="{FF2B5EF4-FFF2-40B4-BE49-F238E27FC236}">
                <a16:creationId xmlns:a16="http://schemas.microsoft.com/office/drawing/2014/main" id="{FA8D1A44-8121-4470-AAC9-57C2C2181DFB}"/>
              </a:ext>
            </a:extLst>
          </p:cNvPr>
          <p:cNvSpPr/>
          <p:nvPr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5" name="Tekstvak 6">
            <a:extLst>
              <a:ext uri="{FF2B5EF4-FFF2-40B4-BE49-F238E27FC236}">
                <a16:creationId xmlns:a16="http://schemas.microsoft.com/office/drawing/2014/main" id="{CE839B3F-DCEB-4D95-A08D-B8118908443A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ekstvak 10">
            <a:extLst>
              <a:ext uri="{FF2B5EF4-FFF2-40B4-BE49-F238E27FC236}">
                <a16:creationId xmlns:a16="http://schemas.microsoft.com/office/drawing/2014/main" id="{BF269C02-F56C-49FF-9A3A-6CCFAE3B83D9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78E80FA-6278-4706-A94F-F688D606512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3513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2122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EDBCB1-D636-4CC0-A7F8-AC9531B13B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8C9D01-3E70-45EF-89FB-D93ADFF3A9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86922C-C14E-44D9-BB2C-D806519384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31D5B2-6D68-47E3-8E11-FD40308EDA83}" type="datetimeFigureOut">
              <a:rPr lang="nl-NL" smtClean="0"/>
              <a:t>09-11-2023</a:t>
            </a:fld>
            <a:endParaRPr lang="nl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0E5432-4861-465E-A27A-57E72A8E3F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681D5D-81BC-4BC5-9033-0181CD989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DF7BC7-C1F7-4AED-A456-A827D238935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9466394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12BAA-2760-4597-B953-F57559E34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B60362E-F48A-4841-912A-B6564663CC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E"/>
              <a:t>LG Data l February 2023 l Confidential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F5A52F-3DCA-49A8-9DA4-9691E4A908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6805F6F-5F43-4CEF-ACE7-03EB4D63724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336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9, 2023</a:t>
            </a:fld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8038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DD91852-417F-4DD0-AECA-7045D96695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65CC4B-2109-49E1-9365-00FD876B2AD9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2CF8507E-CADB-4154-86F7-E25F552EFC09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CB15D4B2-423C-4003-98F5-F1CA56D82C96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7CE8F843-13AF-4D6F-BBF3-4ED2716160E6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067C66C7-D827-4462-9B6A-0BE217FB85FF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424123AA-3966-4B55-9589-D993DBEB703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26" name="TextBox 25">
                  <a:extLst>
                    <a:ext uri="{FF2B5EF4-FFF2-40B4-BE49-F238E27FC236}">
                      <a16:creationId xmlns:a16="http://schemas.microsoft.com/office/drawing/2014/main" id="{1E5BE6E4-01AF-445B-8817-5468740EEFB1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E6DD6157-3B5E-4043-BBB7-699EE93E4699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036D7EB-A1B5-440B-B294-36FE8D7F4936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3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39530E5-71C3-4824-B916-4119E2BDE7D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1CC1949-0DA5-4617-8570-21D0E3D48500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29" name="Tekstvak 6">
            <a:extLst>
              <a:ext uri="{FF2B5EF4-FFF2-40B4-BE49-F238E27FC236}">
                <a16:creationId xmlns:a16="http://schemas.microsoft.com/office/drawing/2014/main" id="{34B4505E-6248-4349-8207-CAACAF359DBE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9, 2023</a:t>
            </a:fld>
            <a:endParaRPr lang="en-US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777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494653"/>
            <a:ext cx="8983864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tx1">
                    <a:lumMod val="85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D7791FA-B043-204F-B3E7-D591D6E3F79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CC70EB95-E18C-4DD8-8F54-BAC18F14BB23}" type="datetime4">
              <a:rPr lang="en-US" smtClean="0"/>
              <a:pPr/>
              <a:t>November 9, 2023</a:t>
            </a:fld>
            <a:endParaRPr lang="en-US" cap="all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864B076-883B-4244-8D2E-1E403399A5DB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7230B405-7563-4FFD-B436-F1793C4342E2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DF046661-4379-41C6-A2B7-A9530E05679C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C54A6647-68D4-4038-BB62-C96F83E7C2FD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EE124C7D-85D6-4026-A02A-9E15DE1169F4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53483750-F2C1-4D9C-AA10-9813FF6C27E0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1" name="TextBox 30">
                  <a:extLst>
                    <a:ext uri="{FF2B5EF4-FFF2-40B4-BE49-F238E27FC236}">
                      <a16:creationId xmlns:a16="http://schemas.microsoft.com/office/drawing/2014/main" id="{7FBC96CF-6BD7-453B-B8D7-628708C71C59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F4248ED1-E432-40EE-9B28-99A47F23DAD6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1FB0D81-6D92-4B6F-8230-42EDBF69ADF4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9917DE-CB0F-41F0-A4D6-FFC75BA465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73F93194-AAD5-4E70-9FA4-25601F14ED8E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8561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 - Light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D4A846-C908-495B-BBE9-06B040463D3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38F2FA6B-3BFA-034D-9A3D-49FE25721716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chemeClr val="bg2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64716EC-13D8-6546-ABBF-887C848D71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F876CC9A-B8C7-40D8-81A1-F5CCFD02D2C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199" y="2494653"/>
            <a:ext cx="9341269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E55C125-F87E-49DF-B04F-655A0AB6E8E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862298"/>
            <a:ext cx="7991475" cy="3693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a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81929DF5-CC09-4711-866E-219AA931F2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7199" y="430075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C7AE406E-507B-4522-979E-3CDBE04501C9}" type="datetime4">
              <a:rPr lang="en-US" smtClean="0"/>
              <a:t>November 9, 2023</a:t>
            </a:fld>
            <a:endParaRPr lang="en-US" cap="all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785900D-5B7C-42ED-9489-649733ECCF95}"/>
              </a:ext>
            </a:extLst>
          </p:cNvPr>
          <p:cNvGrpSpPr/>
          <p:nvPr userDrawn="1"/>
        </p:nvGrpSpPr>
        <p:grpSpPr>
          <a:xfrm>
            <a:off x="12704956" y="0"/>
            <a:ext cx="2395221" cy="4121239"/>
            <a:chOff x="12704956" y="0"/>
            <a:chExt cx="2395221" cy="412123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733D0D8-62E2-4024-9B50-E6D551D035AC}"/>
                </a:ext>
              </a:extLst>
            </p:cNvPr>
            <p:cNvGrpSpPr/>
            <p:nvPr userDrawn="1"/>
          </p:nvGrpSpPr>
          <p:grpSpPr>
            <a:xfrm>
              <a:off x="12704956" y="0"/>
              <a:ext cx="2395221" cy="4121239"/>
              <a:chOff x="12704956" y="0"/>
              <a:chExt cx="2395221" cy="4121239"/>
            </a:xfrm>
            <a:solidFill>
              <a:schemeClr val="tx1"/>
            </a:solidFill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5224639-F221-4FAC-B883-4F1C2303C8AF}"/>
                  </a:ext>
                </a:extLst>
              </p:cNvPr>
              <p:cNvGrpSpPr/>
              <p:nvPr userDrawn="1"/>
            </p:nvGrpSpPr>
            <p:grpSpPr>
              <a:xfrm>
                <a:off x="12706383" y="968398"/>
                <a:ext cx="2393794" cy="3152841"/>
                <a:chOff x="-3230724" y="832624"/>
                <a:chExt cx="2393794" cy="3152841"/>
              </a:xfrm>
              <a:grpFill/>
            </p:grpSpPr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DED50C5B-537A-4E41-AD12-A08C0E4CA157}"/>
                    </a:ext>
                  </a:extLst>
                </p:cNvPr>
                <p:cNvSpPr/>
                <p:nvPr userDrawn="1"/>
              </p:nvSpPr>
              <p:spPr>
                <a:xfrm>
                  <a:off x="-3230724" y="832624"/>
                  <a:ext cx="2393794" cy="3152841"/>
                </a:xfrm>
                <a:prstGeom prst="rect">
                  <a:avLst/>
                </a:prstGeom>
                <a:grpFill/>
                <a:ln>
                  <a:noFill/>
                </a:ln>
                <a:effectLst>
                  <a:outerShdw blurRad="381000" sx="108000" sy="108000" algn="ctr" rotWithShape="0">
                    <a:prstClr val="black">
                      <a:alpha val="8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/>
                  <a:endParaRPr lang="en-US" sz="11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2" name="TextBox 31">
                  <a:extLst>
                    <a:ext uri="{FF2B5EF4-FFF2-40B4-BE49-F238E27FC236}">
                      <a16:creationId xmlns:a16="http://schemas.microsoft.com/office/drawing/2014/main" id="{167B4DE3-0B46-4431-9A23-11BD3C7206D6}"/>
                    </a:ext>
                  </a:extLst>
                </p:cNvPr>
                <p:cNvSpPr txBox="1"/>
                <p:nvPr userDrawn="1"/>
              </p:nvSpPr>
              <p:spPr>
                <a:xfrm>
                  <a:off x="-2949861" y="986905"/>
                  <a:ext cx="1781017" cy="738664"/>
                </a:xfrm>
                <a:prstGeom prst="rect">
                  <a:avLst/>
                </a:prstGeom>
                <a:grpFill/>
              </p:spPr>
              <p:txBody>
                <a:bodyPr wrap="square" lIns="0" tIns="0" rIns="0" bIns="0" rtlCol="0">
                  <a:spAutoFit/>
                </a:bodyPr>
                <a:lstStyle/>
                <a:p>
                  <a:r>
                    <a:rPr lang="en-US" sz="1600">
                      <a:solidFill>
                        <a:schemeClr val="accent1"/>
                      </a:solidFill>
                    </a:rPr>
                    <a:t>To replace background image:</a:t>
                  </a:r>
                </a:p>
                <a:p>
                  <a:r>
                    <a:rPr lang="en-US" sz="1600">
                      <a:solidFill>
                        <a:schemeClr val="accent1"/>
                      </a:solidFill>
                    </a:rPr>
                    <a:t>-</a:t>
                  </a: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ACCF5B65-E979-49A4-8EAA-177E707A41BF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1796329"/>
                  <a:ext cx="1697901" cy="784830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Right click on the background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‘Format background…’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On Format Background tab:</a:t>
                  </a:r>
                </a:p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Click on Insert…’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BCB182F4-B74E-43ED-AFE9-401557C1EB00}"/>
                    </a:ext>
                  </a:extLst>
                </p:cNvPr>
                <p:cNvSpPr txBox="1"/>
                <p:nvPr userDrawn="1"/>
              </p:nvSpPr>
              <p:spPr>
                <a:xfrm>
                  <a:off x="-2947398" y="3374542"/>
                  <a:ext cx="1358064" cy="276999"/>
                </a:xfrm>
                <a:prstGeom prst="rect">
                  <a:avLst/>
                </a:prstGeom>
                <a:grp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87313" indent="-87313">
                    <a:spcBef>
                      <a:spcPts val="600"/>
                    </a:spcBef>
                    <a:buFont typeface="Arial" panose="020B0604020202020204" pitchFamily="34" charset="0"/>
                    <a:buChar char="•"/>
                  </a:pPr>
                  <a:r>
                    <a:rPr lang="en-US" sz="900">
                      <a:solidFill>
                        <a:schemeClr val="bg1"/>
                      </a:solidFill>
                    </a:rPr>
                    <a:t>Select the image in your </a:t>
                  </a:r>
                  <a:br>
                    <a:rPr lang="en-US" sz="900">
                      <a:solidFill>
                        <a:schemeClr val="bg1"/>
                      </a:solidFill>
                    </a:rPr>
                  </a:br>
                  <a:r>
                    <a:rPr lang="en-US" sz="900">
                      <a:solidFill>
                        <a:schemeClr val="bg1"/>
                      </a:solidFill>
                    </a:rPr>
                    <a:t>computer</a:t>
                  </a:r>
                </a:p>
              </p:txBody>
            </p:sp>
          </p:grp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EC54A7E-D1A4-4926-BBF3-8E6586664776}"/>
                  </a:ext>
                </a:extLst>
              </p:cNvPr>
              <p:cNvSpPr/>
              <p:nvPr userDrawn="1"/>
            </p:nvSpPr>
            <p:spPr>
              <a:xfrm>
                <a:off x="12704956" y="0"/>
                <a:ext cx="2393794" cy="832624"/>
              </a:xfrm>
              <a:prstGeom prst="rect">
                <a:avLst/>
              </a:prstGeom>
              <a:grpFill/>
              <a:ln>
                <a:noFill/>
              </a:ln>
              <a:effectLst>
                <a:outerShdw blurRad="215900" sx="108000" sy="108000" algn="ctr" rotWithShape="0">
                  <a:prstClr val="black">
                    <a:alpha val="9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NL" sz="11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CA529B28-2B34-4D40-A3F2-1BCD55E48873}"/>
                  </a:ext>
                </a:extLst>
              </p:cNvPr>
              <p:cNvSpPr txBox="1"/>
              <p:nvPr userDrawn="1"/>
            </p:nvSpPr>
            <p:spPr>
              <a:xfrm>
                <a:off x="12883482" y="142535"/>
                <a:ext cx="2042531" cy="615553"/>
              </a:xfrm>
              <a:prstGeom prst="rect">
                <a:avLst/>
              </a:prstGeom>
              <a:grpFill/>
            </p:spPr>
            <p:txBody>
              <a:bodyPr wrap="square">
                <a:spAutoFit/>
              </a:bodyPr>
              <a:lstStyle/>
              <a:p>
                <a:pPr algn="l"/>
                <a:r>
                  <a:rPr lang="en-US" sz="900">
                    <a:solidFill>
                      <a:schemeClr val="bg1"/>
                    </a:solidFill>
                  </a:rPr>
                  <a:t>Use </a:t>
                </a:r>
                <a:r>
                  <a:rPr lang="en-US" sz="900" b="1">
                    <a:solidFill>
                      <a:schemeClr val="bg1"/>
                    </a:solidFill>
                    <a:latin typeface="+mj-lt"/>
                  </a:rPr>
                  <a:t>only images </a:t>
                </a:r>
                <a:r>
                  <a:rPr lang="en-US" sz="900">
                    <a:solidFill>
                      <a:schemeClr val="bg1"/>
                    </a:solidFill>
                  </a:rPr>
                  <a:t>that are on our brand portal:</a:t>
                </a:r>
              </a:p>
              <a:p>
                <a:pPr algn="l"/>
                <a:r>
                  <a:rPr lang="en-US" sz="800">
                    <a:solidFill>
                      <a:schemeClr val="accent1"/>
                    </a:solidFill>
                    <a:hlinkClick r:id="rId4">
                      <a:extLst>
                        <a:ext uri="{A12FA001-AC4F-418D-AE19-62706E023703}">
                          <ahyp:hlinkClr xmlns:ahyp="http://schemas.microsoft.com/office/drawing/2018/hyperlinkcolor" val="tx"/>
                        </a:ext>
                      </a:extLst>
                    </a:hlinkClick>
                  </a:rPr>
                  <a:t>https://brandportal.vodafoneziggo.nl/document/37/collection/153</a:t>
                </a:r>
                <a:endParaRPr lang="en-NL" sz="800" err="1">
                  <a:solidFill>
                    <a:schemeClr val="accent1"/>
                  </a:solidFill>
                </a:endParaRPr>
              </a:p>
            </p:txBody>
          </p:sp>
        </p:grp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8D048382-CC46-4AF3-B176-B772FE15B3A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987246" y="2844036"/>
              <a:ext cx="1697901" cy="5151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718C1835-43CD-4B85-8CFB-EDBC1A1A36BC}"/>
              </a:ext>
            </a:extLst>
          </p:cNvPr>
          <p:cNvSpPr/>
          <p:nvPr userDrawn="1"/>
        </p:nvSpPr>
        <p:spPr>
          <a:xfrm>
            <a:off x="13046299" y="3050014"/>
            <a:ext cx="631064" cy="29939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4384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8947E329-DDC5-4917-90C8-B858C81479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96" t="104" r="196" b="104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635400" y="4001810"/>
            <a:ext cx="4921200" cy="492443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2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INSERT HEADING HERE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5AC3443D-0696-4861-8BD6-CD5B48C557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4398" y="2563082"/>
            <a:ext cx="5063204" cy="1369886"/>
          </a:xfrm>
          <a:prstGeom prst="rect">
            <a:avLst/>
          </a:prstGeom>
        </p:spPr>
      </p:pic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5C27277-6DBC-45C9-87D2-FD6B300049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399" y="4563095"/>
            <a:ext cx="2743200" cy="16927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100" cap="all" baseline="0">
                <a:solidFill>
                  <a:schemeClr val="tx1"/>
                </a:solidFill>
              </a:defRPr>
            </a:lvl1pPr>
          </a:lstStyle>
          <a:p>
            <a:fld id="{666BB312-5D92-47E3-A0A7-B0AE11402E79}" type="datetime4">
              <a:rPr lang="en-US" smtClean="0"/>
              <a:t>November 9, 2023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557831394"/>
      </p:ext>
    </p:extLst>
  </p:cSld>
  <p:clrMapOvr>
    <a:masterClrMapping/>
  </p:clrMapOvr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SUBTITL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4B2D21F-74FF-5946-BCAC-A522F65FA954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8515876C-9CE8-DE4E-95FA-1A9FC3D3DA10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7513"/>
            <a:ext cx="11278800" cy="4281373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35D5821-B496-4D0E-8F62-F2539FC123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6C807B-22CA-4C05-8DB0-969A7B5A1F2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FF8941CB-5E1B-4613-8E8D-C6E3E1AD27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B74E17-B6F9-40E9-A905-A46AA0D78F3E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2245C582-E8F8-4FF1-9A49-9EFCAEF170E4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F68B80EB-4A78-41FC-AC14-EFDF0D3CB6E1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1F95E2C-372F-412F-9D9B-8D14205F5E98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060A03E-D9BA-479E-9B81-5DF91D78E633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F9A30002-6853-488D-9E4C-8166E9C2625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654D550-2C40-45C6-B121-ABC6BC637566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2B8960EE-0694-4093-8052-2C1B06CF080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26E36F89-3ADE-47A7-A2DA-1901E77EEAE9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65B85CE-825A-421A-B55C-8CAD4559CD7F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5863EA96-B9FC-4601-86AF-AA9CAC4E4AB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45E4A1F-F8F8-4D25-956C-B29D9566CF92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4666478-5719-4CCF-9E6B-1D329A5F854D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16ED59E-E9D5-4B39-A773-175AF0C1E10B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9552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501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568620"/>
          </a:xfrm>
        </p:spPr>
        <p:txBody>
          <a:bodyPr>
            <a:noAutofit/>
          </a:bodyPr>
          <a:lstStyle>
            <a:lvl1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 rtl="0">
              <a:lnSpc>
                <a:spcPct val="113000"/>
              </a:lnSpc>
              <a:spcAft>
                <a:spcPts val="600"/>
              </a:spcAft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/>
              <a:t>Bodycopy</a:t>
            </a:r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071563"/>
            <a:ext cx="11272838" cy="509587"/>
          </a:xfrm>
        </p:spPr>
        <p:txBody>
          <a:bodyPr anchor="ctr"/>
          <a:lstStyle>
            <a:lvl1pPr rtl="0">
              <a:defRPr sz="1600" b="1" cap="all" baseline="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GB"/>
              <a:t>Click here to add a subtitle her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3B7526C9-E5E2-4A18-BC69-38343FD2A7A0}"/>
              </a:ext>
            </a:extLst>
          </p:cNvPr>
          <p:cNvSpPr txBox="1">
            <a:spLocks/>
          </p:cNvSpPr>
          <p:nvPr userDrawn="1"/>
        </p:nvSpPr>
        <p:spPr>
          <a:xfrm>
            <a:off x="457199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nl-NL"/>
            </a:defPPr>
            <a:lvl1pPr marL="177800" indent="-177800">
              <a:buFont typeface="+mj-lt"/>
              <a:buAutoNum type="arabicPeriod"/>
              <a:tabLst>
                <a:tab pos="177800" algn="l"/>
              </a:tabLst>
              <a:defRPr sz="800"/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/>
              <a:t>Insert optional footnote(s) here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03B2EF9B-0CB0-4078-B0D9-E34478B941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77813"/>
            <a:ext cx="11277600" cy="750887"/>
          </a:xfrm>
        </p:spPr>
        <p:txBody>
          <a:bodyPr vert="horz" anchor="b" anchorCtr="0"/>
          <a:lstStyle>
            <a:lvl1pPr rtl="0"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237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SUBTITLE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6DC1A053-C637-C045-8CA4-0ED942459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32155"/>
            <a:ext cx="11278800" cy="4281283"/>
          </a:xfrm>
        </p:spPr>
        <p:txBody>
          <a:bodyPr>
            <a:noAutofit/>
          </a:bodyPr>
          <a:lstStyle>
            <a:lvl1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A110878-766D-4D79-9E75-8EF8DB77BA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E8F314F6-5C78-4F72-B3FB-2F9326AA7E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1251736"/>
            <a:ext cx="11277600" cy="276999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buNone/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2pPr>
            <a:lvl3pPr>
              <a:defRPr sz="18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3pPr>
            <a:lvl4pPr>
              <a:defRPr sz="16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4pPr>
            <a:lvl5pPr>
              <a:defRPr sz="14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</a:defRPr>
            </a:lvl5pPr>
          </a:lstStyle>
          <a:p>
            <a:pPr lvl="0"/>
            <a:r>
              <a:rPr lang="en-US"/>
              <a:t>Click here to add a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431955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04B2D21F-74FF-5946-BCAC-A522F65FA954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06ABE1A-369F-3547-A058-97642233565B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8515876C-9CE8-DE4E-95FA-1A9FC3D3DA10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10676CA7-680D-4047-B735-56FF7BDE3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B402BEF-5B4E-A448-B4A5-B7FDE36AABC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3"/>
            <a:ext cx="112788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7A64464-C7C2-4D6F-825B-54E493D5C2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410284"/>
            <a:ext cx="11277599" cy="742674"/>
          </a:xfrm>
        </p:spPr>
        <p:txBody>
          <a:bodyPr vert="horz" lIns="0" tIns="0" rIns="0" bIns="0" rtlCol="0" anchor="ctr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596FCFE-20FB-421D-AF42-F579EC6BC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1FD016B-1A59-46C8-B0E3-8063D7B2BA0D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B94EEC0-4C26-42D1-AC91-506B181B6979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7F42345-541E-49B3-A2CE-252FA31495F4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F0CBB62-45D7-4DED-B8C0-87664902077B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1E0FC72-742F-432C-A177-814F4D856BB4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F9EC322C-2F95-41F2-A474-46C8E35D0CB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7F4C805E-41FD-4F79-AAB2-ADCBC71F5946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C8191F62-4BEE-481C-9078-C41A4D5AE2C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7046F1C5-F469-4110-ADC8-93BD156B8B80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15AA3333-E135-4FF1-863C-D15CCA8F56A4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BA09B532-5ED8-4695-9ADD-F6E27F12D77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E24E52ED-FC05-4A06-9E50-52596C6305E1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74BD712-2E16-4F88-BF10-1791D1D2A934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0D0EF77-043B-45CD-93D5-B0C5CB74D149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74809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11278800" cy="464502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D303E3-F4F6-44EB-B27B-54033F89B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E44D63D-EA75-492E-972C-BD491036DA4C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849C36D-5EDB-4A61-BB29-48B1646030FF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3F9B054A-8D23-46B4-B8C7-7FBC3777E0CE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2BC1632-4B45-4A60-B411-B5E6EC337A6B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8C3E602-B65F-485A-909F-13238EA36899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3248058-2B01-4265-B39A-44995C45C7B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9C83643C-6D26-4D74-8840-AD431CBDE982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1C6E8576-9B30-48F8-BAC9-24369696BEE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FFA42B4E-1247-4FF7-B89B-7D78F44BA162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5F690EB9-4001-4B86-B625-D0BAA3212CD0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4F2158E2-5018-4882-A509-0A273983E1C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0AD4248B-42F7-4960-B8D4-3AFEEB47F637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9B237AA-5F39-4BB2-B2DD-C7CF4935A1FB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75E1635-F97A-4BA8-8212-C7A8F0097681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35991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LOCKS OF CONTENT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27AA8F5-EB95-384B-9725-7FDD9FA157D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CA29BF28-3E92-B343-849B-689A9B60B5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5832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2" name="Tijdelijke aanduiding voor tekst 10">
            <a:extLst>
              <a:ext uri="{FF2B5EF4-FFF2-40B4-BE49-F238E27FC236}">
                <a16:creationId xmlns:a16="http://schemas.microsoft.com/office/drawing/2014/main" id="{B47951CC-639E-2749-8E96-1EAB025B0F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1" y="1611098"/>
            <a:ext cx="3733800" cy="215444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B455C66-D33C-4707-91F9-690A605EC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3DFC003B-434C-45F0-8F1F-E0D536578A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218BE50-52E7-4FFE-A17A-6A26EF30C323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F8AAB328-26AF-4337-A352-B73FBFF56918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C978ACE-7191-4D49-A920-915AFF2A540C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DAF9A32E-E297-4839-A1AE-C39E06E847FD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42A764E2-FD8A-4D4C-9740-3744D917CC47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26564381-C6F0-4195-B2B9-940024EFA909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04E04CBA-E48C-44A2-81B0-314361A62CA8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CCD9F829-FE0C-4077-98EE-C372A6E31E2C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B818DE4B-86D7-4F16-B7B3-5449200B34F8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930CAEEB-D0EB-470A-AC87-3F0E4BA77785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C721F19E-B96B-4707-A21F-ABA36C8F90A9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EF2825C-A1A4-4083-A11C-E392AD9F52DF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378CD3-8E85-43DF-BC6D-904025C27F16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CC4CB4C-F0D7-44DF-92EF-3DC0003A6FC7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48361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CONTENT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017065E-D3D6-1B49-9AB3-291E6A6B009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1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FC5CF9A-6658-3A49-B88F-300B19B5C2B2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370800" y="2002245"/>
            <a:ext cx="5364000" cy="3874421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/>
              <a:t>Image 2</a:t>
            </a:r>
          </a:p>
        </p:txBody>
      </p:sp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A02D8D03-2EC3-A048-8DDB-095B8943D5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BD5C9915-B3B7-CA4C-8844-3F6901A0F90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08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 err="1"/>
              <a:t>This</a:t>
            </a:r>
            <a:r>
              <a:rPr lang="nl-NL"/>
              <a:t> </a:t>
            </a:r>
            <a:r>
              <a:rPr lang="nl-NL" err="1"/>
              <a:t>could</a:t>
            </a:r>
            <a:r>
              <a:rPr lang="nl-NL"/>
              <a:t> </a:t>
            </a:r>
            <a:r>
              <a:rPr lang="nl-NL" err="1"/>
              <a:t>be</a:t>
            </a:r>
            <a:r>
              <a:rPr lang="nl-NL"/>
              <a:t> a </a:t>
            </a:r>
            <a:r>
              <a:rPr lang="nl-NL" err="1"/>
              <a:t>visual</a:t>
            </a:r>
            <a:r>
              <a:rPr lang="nl-NL"/>
              <a:t> </a:t>
            </a:r>
            <a:r>
              <a:rPr lang="nl-NL" err="1"/>
              <a:t>desicription</a:t>
            </a:r>
            <a:r>
              <a:rPr lang="nl-NL"/>
              <a:t> €m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503733E-8C6D-4292-BDA5-EB1E18C8BE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8" name="Title 5">
            <a:extLst>
              <a:ext uri="{FF2B5EF4-FFF2-40B4-BE49-F238E27FC236}">
                <a16:creationId xmlns:a16="http://schemas.microsoft.com/office/drawing/2014/main" id="{EF67E1C7-EBCA-4E0D-9AD9-CF513C333F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F5AFE14-547A-4776-B5B5-A8D14F2519C7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D7D108DA-6615-466B-A7D7-23A8950852F1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F9A1BD46-170B-4BCE-A8DA-E5622B1754B1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AE8E1C49-2A8D-4679-AD24-37ADF66A5A2F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7B1AEF85-AEB8-4AAA-8A64-15F25438E196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BCC8BC15-1C12-4589-99CF-361B7B3099D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487D2002-3E5B-4CB1-817C-98E6D32DF213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63FFE66F-DB05-49B9-B217-FCEABB62CA9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97F17D26-67E9-43AA-8B6A-62002CA40A10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EEA18C66-711A-420E-AAE1-CF219139AB44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6CE8A108-66D3-47B6-B30C-1145A70731B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C711B56A-AD48-4D02-A9DC-30C8D0D0FC1F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60A4FAC-09D6-4AFD-9B9E-DD17071DFEE6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4510B79-14A2-4314-B78E-AB784F90DF82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97552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TEXT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tekst 10">
            <a:extLst>
              <a:ext uri="{FF2B5EF4-FFF2-40B4-BE49-F238E27FC236}">
                <a16:creationId xmlns:a16="http://schemas.microsoft.com/office/drawing/2014/main" id="{EE0CD1D1-D17F-E749-AABE-293DC0B19D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5" name="Tijdelijke aanduiding voor tekst 10">
            <a:extLst>
              <a:ext uri="{FF2B5EF4-FFF2-40B4-BE49-F238E27FC236}">
                <a16:creationId xmlns:a16="http://schemas.microsoft.com/office/drawing/2014/main" id="{39BD4A7B-59D1-4D48-AFE5-57A871BDB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13" name="Title 5">
            <a:extLst>
              <a:ext uri="{FF2B5EF4-FFF2-40B4-BE49-F238E27FC236}">
                <a16:creationId xmlns:a16="http://schemas.microsoft.com/office/drawing/2014/main" id="{05FF2C08-9891-4AA8-B1C5-362F6D8EE7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3B7FF43-C583-499B-BAC5-7B70047DA7BB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9D33EF55-A78B-4398-92C6-4C6457EE02CE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5854B693-75FA-4D7D-A634-A4DD80BF4B57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3DFD6CB6-9161-42C8-97D3-8A0470503B36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4ECCEDB8-560D-4599-A2A6-21336BDB260C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6E7E2E90-C951-4E72-BDFD-515EBC5AE83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AC6A85A0-4204-44D1-BA8C-0BE1CBD3D8C5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46" name="Picture 45">
                <a:extLst>
                  <a:ext uri="{FF2B5EF4-FFF2-40B4-BE49-F238E27FC236}">
                    <a16:creationId xmlns:a16="http://schemas.microsoft.com/office/drawing/2014/main" id="{E95FCBBA-9650-4860-99F0-2E25AE9BAD6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20C09F1-F36D-436F-85EB-99887B7708B4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F60E0F08-9274-4B61-844F-A049D05DB5B4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AFBB3A22-C903-4A29-95D9-777531C1B39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3CE0BFA7-098A-421D-842C-106BA3AB565E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93297216-58FE-4036-A279-E3412B089EAE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2ABB7C7-8682-4A0E-A3A0-A3507835D5AE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4CC1C6C-B8D9-45B5-86EC-B2ABEEF9E4B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FF4D5CA-D5DE-4363-B6DC-CDC4F3A07E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4"/>
            <a:ext cx="5366484" cy="39111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hthoek 11">
            <a:extLst>
              <a:ext uri="{FF2B5EF4-FFF2-40B4-BE49-F238E27FC236}">
                <a16:creationId xmlns:a16="http://schemas.microsoft.com/office/drawing/2014/main" id="{DFDD3643-4363-4E86-8E2F-40301880D626}"/>
              </a:ext>
            </a:extLst>
          </p:cNvPr>
          <p:cNvSpPr/>
          <p:nvPr userDrawn="1"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26" name="Afbeelding 10">
            <a:extLst>
              <a:ext uri="{FF2B5EF4-FFF2-40B4-BE49-F238E27FC236}">
                <a16:creationId xmlns:a16="http://schemas.microsoft.com/office/drawing/2014/main" id="{9B42AD25-2B2C-4E4E-97C8-80121DF917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7" name="Tekstvak 8">
            <a:extLst>
              <a:ext uri="{FF2B5EF4-FFF2-40B4-BE49-F238E27FC236}">
                <a16:creationId xmlns:a16="http://schemas.microsoft.com/office/drawing/2014/main" id="{BD06871B-CF5A-49B7-81C6-E53FE0AE4DF7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ekstvak 12">
            <a:extLst>
              <a:ext uri="{FF2B5EF4-FFF2-40B4-BE49-F238E27FC236}">
                <a16:creationId xmlns:a16="http://schemas.microsoft.com/office/drawing/2014/main" id="{6789C0B0-D5C9-4850-A055-78AF55C7829E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4E44C398-7086-421C-8D89-9ABFA017CD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12275191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LOCKS OF TEXT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6" name="Title 5">
            <a:extLst>
              <a:ext uri="{FF2B5EF4-FFF2-40B4-BE49-F238E27FC236}">
                <a16:creationId xmlns:a16="http://schemas.microsoft.com/office/drawing/2014/main" id="{413E51A4-8DC4-F046-9665-4F2F8A5E9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C503733E-8C6D-4292-BDA5-EB1E18C8BE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20" name="Tijdelijke aanduiding voor tekst 10">
            <a:extLst>
              <a:ext uri="{FF2B5EF4-FFF2-40B4-BE49-F238E27FC236}">
                <a16:creationId xmlns:a16="http://schemas.microsoft.com/office/drawing/2014/main" id="{060DF265-34FA-499F-818C-7868BD7F25B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11098"/>
            <a:ext cx="5364000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sp>
        <p:nvSpPr>
          <p:cNvPr id="21" name="Tijdelijke aanduiding voor tekst 10">
            <a:extLst>
              <a:ext uri="{FF2B5EF4-FFF2-40B4-BE49-F238E27FC236}">
                <a16:creationId xmlns:a16="http://schemas.microsoft.com/office/drawing/2014/main" id="{B5C5EB5E-0059-4027-9DDE-A388584532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75770" y="1611098"/>
            <a:ext cx="5359029" cy="246221"/>
          </a:xfr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header </a:t>
            </a:r>
            <a:r>
              <a:rPr lang="nl-NL" err="1"/>
              <a:t>for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content below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64B8AD4-9981-4946-8AD3-248D2BEA01D9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6B1DAD58-A8B0-46D8-8AAB-3D366AF4249D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7ED6D205-CFDD-4502-B873-E667737F0509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BACC5E54-DB6F-441B-8D45-D33CE4A52F2F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EE81D5DF-1595-4EC2-96EF-783D66493011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72" name="Picture 71">
                <a:extLst>
                  <a:ext uri="{FF2B5EF4-FFF2-40B4-BE49-F238E27FC236}">
                    <a16:creationId xmlns:a16="http://schemas.microsoft.com/office/drawing/2014/main" id="{7837C4B9-3836-4D3A-83A1-1CC360030015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50432AE4-7EC9-4046-9CEB-8FAE07F9A407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3E8579BA-9FF4-46D4-8C3D-E449FEC84C6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CC335B13-69ED-4A68-9004-5C8711BF7B22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BDAAB16B-FFD3-42B9-9F94-40A3A755B7D1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6900A3E7-654F-4AE2-9B2E-8871A079D5F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6B6DC63C-82F1-4DEC-9D87-619132B7ACDC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D3F9A06D-9413-40D5-B315-8B7B0DE3C318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D1F7D0A0-7792-43DB-9505-3BF374E6E965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AFCB36C-7E50-4D11-9511-F441AF6915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4716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20EFF78F-A3E2-4DFC-BBC2-21147266CF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68315" y="2002245"/>
            <a:ext cx="5366484" cy="3871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0654605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01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14"/>
          <p:cNvSpPr>
            <a:spLocks noGrp="1"/>
          </p:cNvSpPr>
          <p:nvPr>
            <p:ph type="pic" sz="quarter" idx="18" hasCustomPrompt="1"/>
          </p:nvPr>
        </p:nvSpPr>
        <p:spPr>
          <a:xfrm>
            <a:off x="6370799" y="1268413"/>
            <a:ext cx="5364000" cy="4645025"/>
          </a:xfrm>
          <a:prstGeom prst="roundRect">
            <a:avLst>
              <a:gd name="adj" fmla="val 1975"/>
            </a:avLst>
          </a:prstGeom>
          <a:solidFill>
            <a:schemeClr val="tx2"/>
          </a:solidFill>
        </p:spPr>
        <p:txBody>
          <a:bodyPr tIns="137160" anchor="ctr" anchorCtr="0">
            <a:noAutofit/>
          </a:bodyPr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Klik op het pictogram als u een afbeelding wilt toevoegen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  <a:prstGeom prst="roundRect">
            <a:avLst>
              <a:gd name="adj" fmla="val 0"/>
            </a:avLst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821BADE0-152B-E541-860D-1589F735CD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5360595-19A2-4076-8FE8-3BD56FACC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8D799EB3-0FB5-4825-8698-C001C6192A68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B711EE48-0B50-4FBF-AC34-085DFCB419D4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E73B9489-C00D-4985-A9D2-441C72A594CE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D9A759C3-D93C-4DB4-9170-A7D947101E44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9140767C-562F-46FA-87ED-B5658AB94C49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550D1711-611D-4926-A268-3585F1C69366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B3EF15ED-0798-4B52-8D66-609984054A84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F7A17F98-952D-41AC-B5E3-A2ED9746ED2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CF6B510-B3F9-4C81-B9AD-0E736D4A2E19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42AC410-D4DD-417E-980E-859292F30292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795C6239-B924-4A15-A0D7-C4DBC169CB5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AA54095E-708D-4F1B-8719-101FC67EE5ED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B2FFEB-8CB4-4482-B503-3F5B868B1826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522FEEE-C9CC-4973-B969-A144B19394E0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 err="1">
                  <a:solidFill>
                    <a:schemeClr val="tx1"/>
                  </a:solidFill>
                </a:rPr>
                <a:t>thet</a:t>
              </a:r>
              <a:r>
                <a:rPr lang="en-US" sz="900">
                  <a:solidFill>
                    <a:schemeClr val="tx1"/>
                  </a:solidFill>
                </a:rPr>
                <a:t>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03135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+ IMAGE 01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5364000" cy="46450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25E33B38-AEFD-6E42-B99D-875E452940B8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3A603732-0123-744E-971B-417ACF47F763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F360E44E-EB80-7142-AEE3-18FC32DBBFF2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285950A-E584-0142-B0D2-9E5BA9A676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256B494-B1FC-45D1-B56A-C624187D0F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4EBC3F-681F-46FC-A9E3-D6A44784E342}"/>
              </a:ext>
            </a:extLst>
          </p:cNvPr>
          <p:cNvSpPr/>
          <p:nvPr userDrawn="1"/>
        </p:nvSpPr>
        <p:spPr>
          <a:xfrm>
            <a:off x="0" y="-978251"/>
            <a:ext cx="12192000" cy="74267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800">
                <a:solidFill>
                  <a:schemeClr val="bg1"/>
                </a:solidFill>
              </a:rPr>
              <a:t>General content placeholders are confusing for some users. Use specific placeholders for the slide purpose.</a:t>
            </a:r>
            <a:endParaRPr lang="en-NL" sz="1800" err="1">
              <a:solidFill>
                <a:schemeClr val="bg1"/>
              </a:solidFill>
            </a:endParaRP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C98AB9C8-003D-4653-9B79-C92484DE10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70638" y="1268413"/>
            <a:ext cx="5364162" cy="4645024"/>
          </a:xfrm>
          <a:prstGeom prst="roundRect">
            <a:avLst>
              <a:gd name="adj" fmla="val 1839"/>
            </a:avLst>
          </a:prstGeo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392542-15DA-4788-A435-C21A1307CBC3}"/>
              </a:ext>
            </a:extLst>
          </p:cNvPr>
          <p:cNvGrpSpPr/>
          <p:nvPr userDrawn="1"/>
        </p:nvGrpSpPr>
        <p:grpSpPr>
          <a:xfrm>
            <a:off x="12704956" y="0"/>
            <a:ext cx="2395221" cy="7036446"/>
            <a:chOff x="12704956" y="0"/>
            <a:chExt cx="2395221" cy="703644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0F257F15-4FBA-482B-A7BE-3F3D8B975096}"/>
                </a:ext>
              </a:extLst>
            </p:cNvPr>
            <p:cNvGrpSpPr/>
            <p:nvPr userDrawn="1"/>
          </p:nvGrpSpPr>
          <p:grpSpPr>
            <a:xfrm>
              <a:off x="12706383" y="968398"/>
              <a:ext cx="2393794" cy="6068048"/>
              <a:chOff x="-3230724" y="832624"/>
              <a:chExt cx="2393794" cy="606804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949D83C-817D-4BF3-B6A5-973561D42CE8}"/>
                  </a:ext>
                </a:extLst>
              </p:cNvPr>
              <p:cNvSpPr/>
              <p:nvPr userDrawn="1"/>
            </p:nvSpPr>
            <p:spPr>
              <a:xfrm>
                <a:off x="-3230724" y="832624"/>
                <a:ext cx="2393794" cy="606804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381000" sx="108000" sy="108000" algn="ctr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1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34ED8E3E-E4A4-44DF-A4A3-FAC837B154B1}"/>
                  </a:ext>
                </a:extLst>
              </p:cNvPr>
              <p:cNvSpPr txBox="1"/>
              <p:nvPr userDrawn="1"/>
            </p:nvSpPr>
            <p:spPr>
              <a:xfrm>
                <a:off x="-2949861" y="986905"/>
                <a:ext cx="1781017" cy="738664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>
                    <a:solidFill>
                      <a:schemeClr val="accent1"/>
                    </a:solidFill>
                  </a:rPr>
                  <a:t>Change the crop of an image/logo:</a:t>
                </a:r>
              </a:p>
              <a:p>
                <a:r>
                  <a:rPr lang="en-US" sz="1600">
                    <a:solidFill>
                      <a:schemeClr val="accent1"/>
                    </a:solidFill>
                  </a:rPr>
                  <a:t>-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AC5B037-6019-408B-A5B5-9E9AA2A30836}"/>
                  </a:ext>
                </a:extLst>
              </p:cNvPr>
              <p:cNvSpPr txBox="1"/>
              <p:nvPr userDrawn="1"/>
            </p:nvSpPr>
            <p:spPr>
              <a:xfrm>
                <a:off x="-2947398" y="1796329"/>
                <a:ext cx="1657826" cy="5693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Select your image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Go to the ‘Picture Format’ tab</a:t>
                </a:r>
              </a:p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Click on the crop button: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3947B10F-FB97-42F8-9126-67B23E2C8C14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2472541"/>
                <a:ext cx="500932" cy="532737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4A25190-E9A1-4324-B640-3E8B76655C80}"/>
                  </a:ext>
                </a:extLst>
              </p:cNvPr>
              <p:cNvSpPr txBox="1"/>
              <p:nvPr userDrawn="1"/>
            </p:nvSpPr>
            <p:spPr>
              <a:xfrm>
                <a:off x="-2947397" y="3112103"/>
                <a:ext cx="1659286" cy="55399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87313" indent="-87313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900"/>
                  <a:t>Adjust the image size within the current crop with the little circle while holding the shift key:</a:t>
                </a:r>
              </a:p>
            </p:txBody>
          </p:sp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D99C4FF4-91A7-4011-ADB6-8A529D4C3263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-2949861" y="3868319"/>
                <a:ext cx="1246368" cy="959161"/>
              </a:xfrm>
              <a:prstGeom prst="rect">
                <a:avLst/>
              </a:prstGeom>
            </p:spPr>
          </p:pic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F97BEA00-0BCA-4409-A424-772C33B6913F}"/>
                  </a:ext>
                </a:extLst>
              </p:cNvPr>
              <p:cNvSpPr/>
              <p:nvPr userDrawn="1"/>
            </p:nvSpPr>
            <p:spPr>
              <a:xfrm>
                <a:off x="-1808070" y="3772232"/>
                <a:ext cx="188831" cy="188831"/>
              </a:xfrm>
              <a:prstGeom prst="ellipse">
                <a:avLst/>
              </a:prstGeom>
              <a:noFill/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6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5023BC3B-F446-459A-B34D-EE8B86B8157E}"/>
                  </a:ext>
                </a:extLst>
              </p:cNvPr>
              <p:cNvSpPr txBox="1"/>
              <p:nvPr userDrawn="1"/>
            </p:nvSpPr>
            <p:spPr>
              <a:xfrm>
                <a:off x="-2947397" y="4967595"/>
                <a:ext cx="1659286" cy="1384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Until it fits like this:</a:t>
                </a:r>
              </a:p>
            </p:txBody>
          </p: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A0ABD09F-6A50-409D-A4A6-4EE5CBBA645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949861" y="5210682"/>
                <a:ext cx="1286073" cy="995106"/>
              </a:xfrm>
              <a:prstGeom prst="rect">
                <a:avLst/>
              </a:prstGeom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965C7E8B-03F8-4ACA-87C0-37285A9F7932}"/>
                  </a:ext>
                </a:extLst>
              </p:cNvPr>
              <p:cNvSpPr txBox="1"/>
              <p:nvPr userDrawn="1"/>
            </p:nvSpPr>
            <p:spPr>
              <a:xfrm>
                <a:off x="-2947397" y="6282986"/>
                <a:ext cx="1659286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indent="0">
                  <a:spcBef>
                    <a:spcPts val="600"/>
                  </a:spcBef>
                  <a:buFont typeface="Arial" panose="020B0604020202020204" pitchFamily="34" charset="0"/>
                  <a:buNone/>
                </a:pPr>
                <a:r>
                  <a:rPr lang="en-US" sz="900"/>
                  <a:t>Click on the crop button to confirm the resizing.</a:t>
                </a:r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78DA63D-197D-4C10-8AC1-F5E1569EFC17}"/>
                </a:ext>
              </a:extLst>
            </p:cNvPr>
            <p:cNvSpPr/>
            <p:nvPr userDrawn="1"/>
          </p:nvSpPr>
          <p:spPr>
            <a:xfrm>
              <a:off x="12704956" y="0"/>
              <a:ext cx="2393794" cy="8326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215900" sx="108000" sy="108000" algn="ctr" rotWithShape="0">
                <a:prstClr val="black">
                  <a:alpha val="9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NL" sz="1100" err="1">
                <a:solidFill>
                  <a:schemeClr val="tx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136C34-8CA1-4BCF-8065-EA18AEFE43CF}"/>
                </a:ext>
              </a:extLst>
            </p:cNvPr>
            <p:cNvSpPr txBox="1"/>
            <p:nvPr userDrawn="1"/>
          </p:nvSpPr>
          <p:spPr>
            <a:xfrm>
              <a:off x="12883482" y="142535"/>
              <a:ext cx="204253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900">
                  <a:solidFill>
                    <a:schemeClr val="tx1"/>
                  </a:solidFill>
                </a:rPr>
                <a:t>Use </a:t>
              </a:r>
              <a:r>
                <a:rPr lang="en-US" sz="900" b="1">
                  <a:solidFill>
                    <a:schemeClr val="tx1"/>
                  </a:solidFill>
                  <a:latin typeface="+mj-lt"/>
                </a:rPr>
                <a:t>only images </a:t>
              </a:r>
              <a:r>
                <a:rPr lang="en-US" sz="900">
                  <a:solidFill>
                    <a:schemeClr val="tx1"/>
                  </a:solidFill>
                </a:rPr>
                <a:t>that are on our brand portal:</a:t>
              </a:r>
            </a:p>
            <a:p>
              <a:pPr algn="l"/>
              <a:r>
                <a:rPr lang="en-US" sz="800">
                  <a:solidFill>
                    <a:schemeClr val="accent1"/>
                  </a:solidFill>
                  <a:hlinkClick r:id="rId6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brandportal.vodafoneziggo.nl/document/37/collection/153</a:t>
              </a:r>
              <a:endParaRPr lang="en-NL" sz="800" err="1">
                <a:solidFill>
                  <a:schemeClr val="accent1"/>
                </a:solidFill>
              </a:endParaRPr>
            </a:p>
          </p:txBody>
        </p:sp>
      </p:grpSp>
      <p:sp>
        <p:nvSpPr>
          <p:cNvPr id="30" name="Title 5">
            <a:extLst>
              <a:ext uri="{FF2B5EF4-FFF2-40B4-BE49-F238E27FC236}">
                <a16:creationId xmlns:a16="http://schemas.microsoft.com/office/drawing/2014/main" id="{FC62AC44-5E58-495C-B892-3FA228606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4813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277991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Ligh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7236"/>
            <a:ext cx="12192000" cy="7010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608576" y="1929384"/>
            <a:ext cx="3008376" cy="2871216"/>
          </a:xfrm>
        </p:spPr>
        <p:txBody>
          <a:bodyPr/>
          <a:lstStyle>
            <a:lvl1pPr algn="ctr">
              <a:defRPr sz="3600" cap="none"/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 </a:t>
            </a:r>
            <a:r>
              <a:rPr lang="nl-NL" err="1"/>
              <a:t>tex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12962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 - Dark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91C6CE-FB16-4475-8C8F-C59AD6C7A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96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91C6CE-FB16-4475-8C8F-C59AD6C7A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E4AF05-ED52-4ADF-82E5-088DC589125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DFE54BD-049E-44B6-86CE-265C343F13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2557" y="277813"/>
            <a:ext cx="11277599" cy="742674"/>
          </a:xfrm>
        </p:spPr>
        <p:txBody>
          <a:bodyPr vert="horz" lIns="0" tIns="0" rIns="0" bIns="0" rtlCol="0" anchor="b" anchorCtr="0">
            <a:noAutofit/>
          </a:bodyPr>
          <a:lstStyle>
            <a:lvl1pPr algn="l" rtl="0">
              <a:lnSpc>
                <a:spcPct val="90000"/>
              </a:lnSpc>
              <a:spcBef>
                <a:spcPts val="0"/>
              </a:spcBef>
              <a:defRPr lang="en-GB" noProof="0" dirty="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34B1B8-D20E-485A-AB8F-03E7EEF66935}"/>
              </a:ext>
            </a:extLst>
          </p:cNvPr>
          <p:cNvGrpSpPr/>
          <p:nvPr userDrawn="1"/>
        </p:nvGrpSpPr>
        <p:grpSpPr>
          <a:xfrm>
            <a:off x="5799550" y="6636330"/>
            <a:ext cx="592900" cy="202622"/>
            <a:chOff x="5799550" y="6636330"/>
            <a:chExt cx="592900" cy="20262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139D4A2-432D-4656-A6DF-60B3BDFE01F8}"/>
                </a:ext>
              </a:extLst>
            </p:cNvPr>
            <p:cNvSpPr/>
            <p:nvPr userDrawn="1"/>
          </p:nvSpPr>
          <p:spPr>
            <a:xfrm>
              <a:off x="5870575" y="6636330"/>
              <a:ext cx="454025" cy="202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err="1">
                <a:solidFill>
                  <a:schemeClr val="tx1"/>
                </a:solidFill>
              </a:endParaRPr>
            </a:p>
          </p:txBody>
        </p:sp>
        <p:pic>
          <p:nvPicPr>
            <p:cNvPr id="13" name="Afbeelding 9">
              <a:extLst>
                <a:ext uri="{FF2B5EF4-FFF2-40B4-BE49-F238E27FC236}">
                  <a16:creationId xmlns:a16="http://schemas.microsoft.com/office/drawing/2014/main" id="{5E779B53-31D5-4F6F-ADDF-B91F8DE6E0C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1341" b="32288"/>
            <a:stretch/>
          </p:blipFill>
          <p:spPr>
            <a:xfrm>
              <a:off x="5799550" y="6636330"/>
              <a:ext cx="592900" cy="202622"/>
            </a:xfrm>
            <a:prstGeom prst="rect">
              <a:avLst/>
            </a:prstGeom>
          </p:spPr>
        </p:pic>
      </p:grpSp>
      <p:sp>
        <p:nvSpPr>
          <p:cNvPr id="14" name="Tekstvak 11">
            <a:extLst>
              <a:ext uri="{FF2B5EF4-FFF2-40B4-BE49-F238E27FC236}">
                <a16:creationId xmlns:a16="http://schemas.microsoft.com/office/drawing/2014/main" id="{346E0418-56D3-411F-9C2C-682664018B6B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5A52504E-8196-4421-9589-45A4A9E6057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628775"/>
            <a:ext cx="11278800" cy="4568151"/>
          </a:xfrm>
        </p:spPr>
        <p:txBody>
          <a:bodyPr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03B11DF-D841-4BE8-876C-8A98232CE15A}"/>
              </a:ext>
            </a:extLst>
          </p:cNvPr>
          <p:cNvSpPr txBox="1">
            <a:spLocks/>
          </p:cNvSpPr>
          <p:nvPr userDrawn="1"/>
        </p:nvSpPr>
        <p:spPr>
          <a:xfrm>
            <a:off x="479905" y="6430627"/>
            <a:ext cx="112788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nl-NL"/>
            </a:defPPr>
            <a:lvl1pPr marL="0" algn="l" defTabSz="914377" rtl="0" eaLnBrk="1" latinLnBrk="0" hangingPunct="1">
              <a:buFont typeface="+mj-lt"/>
              <a:buAutoNum type="arabicPeriod"/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32485784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necktie, rain, nature&#10;&#10;Description automatically generated">
            <a:extLst>
              <a:ext uri="{FF2B5EF4-FFF2-40B4-BE49-F238E27FC236}">
                <a16:creationId xmlns:a16="http://schemas.microsoft.com/office/drawing/2014/main" id="{5C66A5A2-05D5-4F58-9B55-346C09ACAF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30000" y="2099405"/>
            <a:ext cx="6732000" cy="2659190"/>
          </a:xfrm>
        </p:spPr>
        <p:txBody>
          <a:bodyPr wrap="square">
            <a:noAutofit/>
          </a:bodyPr>
          <a:lstStyle>
            <a:lvl1pPr algn="ctr">
              <a:defRPr sz="6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text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690824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>
            <a:extLst>
              <a:ext uri="{FF2B5EF4-FFF2-40B4-BE49-F238E27FC236}">
                <a16:creationId xmlns:a16="http://schemas.microsoft.com/office/drawing/2014/main" id="{2B0D464F-B544-4F4F-8046-D4CA13DEFA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 algn="ctr">
              <a:defRPr sz="2800" b="1" cap="none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genda 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CE5E0C-87A6-4ED4-9663-0FB5031491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07026" y="2046128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C745001-E554-445E-B5F4-22A6B3A473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7026" y="2537477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F9174B8-ABB4-4D17-B30F-94065F9E9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7026" y="3028826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5EFAFDF-AC6D-418E-B5C3-14B47A05DD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03975" y="2046128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BCB9B9F-6EA6-4D1D-8DA5-02AC4CA48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03975" y="2537477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C0BCAF6A-10BB-4651-8A2F-E4A90B396C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03975" y="3028826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18" name="Rechthoek 11">
            <a:extLst>
              <a:ext uri="{FF2B5EF4-FFF2-40B4-BE49-F238E27FC236}">
                <a16:creationId xmlns:a16="http://schemas.microsoft.com/office/drawing/2014/main" id="{A9CCE221-3DDD-480A-841B-3D4ED08B4088}"/>
              </a:ext>
            </a:extLst>
          </p:cNvPr>
          <p:cNvSpPr/>
          <p:nvPr userDrawn="1"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pic>
        <p:nvPicPr>
          <p:cNvPr id="19" name="Afbeelding 10">
            <a:extLst>
              <a:ext uri="{FF2B5EF4-FFF2-40B4-BE49-F238E27FC236}">
                <a16:creationId xmlns:a16="http://schemas.microsoft.com/office/drawing/2014/main" id="{F3727EC5-75F3-4BC6-906D-DD03940EFA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26" name="Tekstvak 8">
            <a:extLst>
              <a:ext uri="{FF2B5EF4-FFF2-40B4-BE49-F238E27FC236}">
                <a16:creationId xmlns:a16="http://schemas.microsoft.com/office/drawing/2014/main" id="{45ACB79C-F4D3-43E2-AFFE-A57EA412ECBC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Tekstvak 12">
            <a:extLst>
              <a:ext uri="{FF2B5EF4-FFF2-40B4-BE49-F238E27FC236}">
                <a16:creationId xmlns:a16="http://schemas.microsoft.com/office/drawing/2014/main" id="{ACE19F35-93A7-4091-8A95-9528595EC5DF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39D9A68A-76F0-4E16-8B22-FE9F1973C9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F645821B-41F7-427B-91EB-897654A9C33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7026" y="3520175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956BEDAE-CF0A-4C23-B032-A299E14E7E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207026" y="4011524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36054A2-AC8C-49FA-9301-66771C8834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07026" y="4502873"/>
            <a:ext cx="4579514" cy="344212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Click to add chapter here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18AF22D2-B94F-455A-AAF8-71E1F6A6D7B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3975" y="3520175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BE02370D-6242-4EAA-88EC-4C4C76D67A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03975" y="4011524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8C72A589-6234-4714-9E20-C6C69DA1BF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03975" y="4502873"/>
            <a:ext cx="708579" cy="344212"/>
          </a:xfrm>
        </p:spPr>
        <p:txBody>
          <a:bodyPr/>
          <a:lstStyle>
            <a:lvl1pPr>
              <a:defRPr sz="1800" b="1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/>
              <a:t>00.00</a:t>
            </a:r>
          </a:p>
        </p:txBody>
      </p:sp>
    </p:spTree>
    <p:extLst>
      <p:ext uri="{BB962C8B-B14F-4D97-AF65-F5344CB8AC3E}">
        <p14:creationId xmlns:p14="http://schemas.microsoft.com/office/powerpoint/2010/main" val="16240743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ING -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972846"/>
            <a:ext cx="11278800" cy="553998"/>
          </a:xfrm>
        </p:spPr>
        <p:txBody>
          <a:bodyPr wrap="square" anchor="b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ex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3625269"/>
            <a:ext cx="11278800" cy="276999"/>
          </a:xfrm>
        </p:spPr>
        <p:txBody>
          <a:bodyPr wrap="squar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Click to add subtitle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5D8DB305-B40E-4D42-B178-8D6517AE122B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5CF6584-964E-C64E-ACB0-13971D92BD9D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69BFCC6B-8E63-0142-8B0E-20010B9AF74D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048D9DB-75FC-AF45-812A-A82887A31C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10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1BEC0DEC-1CAB-42E9-979D-AEB1D62034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880" y="1268412"/>
            <a:ext cx="9804240" cy="2048609"/>
          </a:xfrm>
        </p:spPr>
        <p:txBody>
          <a:bodyPr wrap="square" anchor="b" anchorCtr="0">
            <a:noAutofit/>
          </a:bodyPr>
          <a:lstStyle>
            <a:lvl1pPr algn="ctr">
              <a:defRPr sz="42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insert your </a:t>
            </a:r>
            <a:br>
              <a:rPr lang="en-US"/>
            </a:br>
            <a:r>
              <a:rPr lang="en-US"/>
              <a:t>closing title here</a:t>
            </a:r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C5E48CE-9D95-46B1-BC72-82CC350A1C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7220" y="3608707"/>
            <a:ext cx="4417560" cy="21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8021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2820626"/>
            <a:ext cx="11247120" cy="553998"/>
          </a:xfrm>
        </p:spPr>
        <p:txBody>
          <a:bodyPr wrap="square" anchor="t" anchorCtr="0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600" cap="none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quote/end text</a:t>
            </a:r>
          </a:p>
        </p:txBody>
      </p:sp>
      <p:sp>
        <p:nvSpPr>
          <p:cNvPr id="4" name="Rechthoek 4">
            <a:extLst>
              <a:ext uri="{FF2B5EF4-FFF2-40B4-BE49-F238E27FC236}">
                <a16:creationId xmlns:a16="http://schemas.microsoft.com/office/drawing/2014/main" id="{FA8D1A44-8121-4470-AAC9-57C2C2181DFB}"/>
              </a:ext>
            </a:extLst>
          </p:cNvPr>
          <p:cNvSpPr/>
          <p:nvPr userDrawn="1"/>
        </p:nvSpPr>
        <p:spPr>
          <a:xfrm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5" name="Tekstvak 6">
            <a:extLst>
              <a:ext uri="{FF2B5EF4-FFF2-40B4-BE49-F238E27FC236}">
                <a16:creationId xmlns:a16="http://schemas.microsoft.com/office/drawing/2014/main" id="{CE839B3F-DCEB-4D95-A08D-B8118908443A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7" name="Tekstvak 10">
            <a:extLst>
              <a:ext uri="{FF2B5EF4-FFF2-40B4-BE49-F238E27FC236}">
                <a16:creationId xmlns:a16="http://schemas.microsoft.com/office/drawing/2014/main" id="{BF269C02-F56C-49FF-9A3A-6CCFAE3B83D9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78E80FA-6278-4706-A94F-F688D60651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252" y="6296237"/>
            <a:ext cx="909496" cy="670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96247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5580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2941320"/>
            <a:ext cx="12191997" cy="287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noProof="0"/>
              <a:t>C2 VodafoneZiggo Interna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5813167"/>
            <a:ext cx="12191996" cy="981333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>
          <a:xfrm>
            <a:off x="6762750" y="351152"/>
            <a:ext cx="4941094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noProof="0"/>
              <a:t>Insert presentation title via header &amp; footer</a:t>
            </a:r>
            <a:endParaRPr lang="en-GB" noProof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122421"/>
            <a:ext cx="11278800" cy="492443"/>
          </a:xfrm>
        </p:spPr>
        <p:txBody>
          <a:bodyPr wrap="square" anchor="b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DIVIDER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7200" y="4713289"/>
            <a:ext cx="11278800" cy="307777"/>
          </a:xfrm>
        </p:spPr>
        <p:txBody>
          <a:bodyPr wrap="square">
            <a:sp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000" cap="all" baseline="0">
                <a:solidFill>
                  <a:schemeClr val="tx1"/>
                </a:solidFill>
                <a:latin typeface="+mj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081057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0" y="1785600"/>
            <a:ext cx="11278800" cy="4096800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ert presentation title via header &amp; footer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2E Telemetry End-of-Quarter Review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79444-D257-4DB5-8571-8BADB6357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5DA12-8F72-4D0B-8A38-0476296BBDA1}" type="slidenum">
              <a:rPr kumimoji="0" lang="nl-NL" sz="1800" b="0" i="0" u="none" strike="noStrike" kern="1200" cap="none" spc="0" normalizeH="0" baseline="0" noProof="0" smtClean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DE86159-9435-4C12-8446-150A173537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title</a:t>
            </a:r>
            <a:endParaRPr lang="nl-NL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F39CADD-8454-4AF2-A511-EA304F62A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93654"/>
            <a:ext cx="11277599" cy="249299"/>
          </a:xfrm>
        </p:spPr>
        <p:txBody>
          <a:bodyPr vert="horz" lIns="0" tIns="0" rIns="0" bIns="0" rtlCol="0" anchor="t">
            <a:noAutofit/>
          </a:bodyPr>
          <a:lstStyle>
            <a:lvl1pPr>
              <a:tabLst>
                <a:tab pos="1800225" algn="l"/>
              </a:tabLst>
              <a:defRPr lang="en-GB" sz="1800" cap="all" baseline="0" dirty="0">
                <a:latin typeface="Averta Std Black" panose="00000A00000000000000" pitchFamily="50" charset="0"/>
                <a:ea typeface="+mj-ea"/>
                <a:cs typeface="+mj-cs"/>
              </a:defRPr>
            </a:lvl1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GB" noProof="0"/>
              <a:t>INSERT SUBHEADING HERE</a:t>
            </a:r>
          </a:p>
        </p:txBody>
      </p:sp>
    </p:spTree>
    <p:extLst>
      <p:ext uri="{BB962C8B-B14F-4D97-AF65-F5344CB8AC3E}">
        <p14:creationId xmlns:p14="http://schemas.microsoft.com/office/powerpoint/2010/main" val="4199499174"/>
      </p:ext>
    </p:extLst>
  </p:cSld>
  <p:clrMapOvr>
    <a:masterClrMapping/>
  </p:clrMapOvr>
  <p:hf hdr="0" ftr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1 - Light">
    <p:bg>
      <p:bgPr>
        <a:blipFill dpi="0" rotWithShape="1">
          <a:blip r:embed="rId3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588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7C82BB62-143E-47FD-8824-9B55D3C8633C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42102A1C-7C03-4867-A849-F7537120687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4228" y="-19455"/>
            <a:ext cx="3297772" cy="6877456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57B13DB2-70F5-4537-A567-A43C202FFC8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vert="horz" wrap="square" anchor="b" anchorCtr="0">
            <a:spAutoFit/>
          </a:bodyPr>
          <a:lstStyle>
            <a:lvl1pPr algn="l" rtl="0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4E9D9F11-3077-48EF-8FB0-4778D02227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 rtl="0">
              <a:defRPr sz="2400">
                <a:solidFill>
                  <a:schemeClr val="bg1"/>
                </a:solidFill>
              </a:defRPr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GB"/>
              <a:t>Click to add subtitle</a:t>
            </a:r>
          </a:p>
        </p:txBody>
      </p:sp>
      <p:sp>
        <p:nvSpPr>
          <p:cNvPr id="31" name="Date Placeholder 3">
            <a:extLst>
              <a:ext uri="{FF2B5EF4-FFF2-40B4-BE49-F238E27FC236}">
                <a16:creationId xmlns:a16="http://schemas.microsoft.com/office/drawing/2014/main" id="{1480C3B3-770F-435F-9CE2-76D32E668E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600" cap="all" baseline="0">
                <a:solidFill>
                  <a:schemeClr val="bg1"/>
                </a:solidFill>
              </a:defRPr>
            </a:lvl1pPr>
          </a:lstStyle>
          <a:p>
            <a:fld id="{54243C1B-3F0C-45F0-860B-16E454AE411E}" type="datetimeFigureOut">
              <a:rPr lang="nl-NL" smtClean="0"/>
              <a:t>09-11-2023</a:t>
            </a:fld>
            <a:endParaRPr lang="nl-NL"/>
          </a:p>
        </p:txBody>
      </p:sp>
      <p:pic>
        <p:nvPicPr>
          <p:cNvPr id="32" name="Afbeelding 10">
            <a:extLst>
              <a:ext uri="{FF2B5EF4-FFF2-40B4-BE49-F238E27FC236}">
                <a16:creationId xmlns:a16="http://schemas.microsoft.com/office/drawing/2014/main" id="{4B25D5E0-D69E-4964-B1EF-59F31D699E0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465364"/>
            <a:ext cx="3486242" cy="866147"/>
          </a:xfrm>
          <a:prstGeom prst="rect">
            <a:avLst/>
          </a:prstGeom>
        </p:spPr>
      </p:pic>
      <p:sp>
        <p:nvSpPr>
          <p:cNvPr id="10" name="MSIPCMContentMarking" descr="{&quot;HashCode&quot;:353844856,&quot;Placement&quot;:&quot;Footer&quot;}">
            <a:extLst>
              <a:ext uri="{FF2B5EF4-FFF2-40B4-BE49-F238E27FC236}">
                <a16:creationId xmlns:a16="http://schemas.microsoft.com/office/drawing/2014/main" id="{AC45B808-94BE-49CA-92D6-0AFC14A6E800}"/>
              </a:ext>
            </a:extLst>
          </p:cNvPr>
          <p:cNvSpPr txBox="1"/>
          <p:nvPr/>
        </p:nvSpPr>
        <p:spPr>
          <a:xfrm>
            <a:off x="322729" y="6519621"/>
            <a:ext cx="1426091" cy="12311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2 VodafoneZiggo Internal</a:t>
            </a:r>
          </a:p>
        </p:txBody>
      </p:sp>
    </p:spTree>
    <p:extLst>
      <p:ext uri="{BB962C8B-B14F-4D97-AF65-F5344CB8AC3E}">
        <p14:creationId xmlns:p14="http://schemas.microsoft.com/office/powerpoint/2010/main" val="2986188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01 - Dark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DE454EE-3EE2-45F4-B362-A1D8E58813C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8064" y="3845378"/>
            <a:ext cx="7991475" cy="1292662"/>
          </a:xfrm>
        </p:spPr>
        <p:txBody>
          <a:bodyPr wrap="square" anchor="b" anchorCtr="0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200" b="1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Click to add presentation title </a:t>
            </a:r>
            <a:br>
              <a:rPr lang="en-GB" noProof="0"/>
            </a:br>
            <a:r>
              <a:rPr lang="en-GB" noProof="0"/>
              <a:t>It can be 2 lines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0AA636-F725-9340-B4FB-E18A1BF2F5B6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3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VodafoneZiggo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F5C10-BE67-4FD6-BCE3-B81DA77CE6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8064" y="5303709"/>
            <a:ext cx="7991475" cy="369332"/>
          </a:xfrm>
        </p:spPr>
        <p:txBody>
          <a:bodyPr/>
          <a:lstStyle>
            <a:lvl1pPr>
              <a:defRPr sz="2400"/>
            </a:lvl1pPr>
            <a:lvl2pPr>
              <a:buNone/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5AD21CF-B468-497B-AFA2-6BF28DA2F5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68064" y="5790327"/>
            <a:ext cx="2743200" cy="24622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 cap="all" baseline="0">
                <a:solidFill>
                  <a:schemeClr val="tx1"/>
                </a:solidFill>
              </a:defRPr>
            </a:lvl1pPr>
          </a:lstStyle>
          <a:p>
            <a:fld id="{54243C1B-3F0C-45F0-860B-16E454AE411E}" type="datetimeFigureOut">
              <a:rPr lang="nl-NL" smtClean="0"/>
              <a:t>09-11-2023</a:t>
            </a:fld>
            <a:endParaRPr lang="nl-NL"/>
          </a:p>
        </p:txBody>
      </p:sp>
      <p:pic>
        <p:nvPicPr>
          <p:cNvPr id="19" name="Picture 18" descr="Background pattern&#10;&#10;Description automatically generated">
            <a:extLst>
              <a:ext uri="{FF2B5EF4-FFF2-40B4-BE49-F238E27FC236}">
                <a16:creationId xmlns:a16="http://schemas.microsoft.com/office/drawing/2014/main" id="{650094F6-E9FF-4F3E-AC48-3555CBDF82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00713" y="-15959"/>
            <a:ext cx="3291287" cy="7186456"/>
          </a:xfrm>
          <a:prstGeom prst="rect">
            <a:avLst/>
          </a:prstGeom>
        </p:spPr>
      </p:pic>
      <p:pic>
        <p:nvPicPr>
          <p:cNvPr id="25" name="Afbeelding 7">
            <a:extLst>
              <a:ext uri="{FF2B5EF4-FFF2-40B4-BE49-F238E27FC236}">
                <a16:creationId xmlns:a16="http://schemas.microsoft.com/office/drawing/2014/main" id="{4B3683F5-BEC5-49B3-8F47-1C3D9E415C5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99" y="440952"/>
            <a:ext cx="3486243" cy="866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292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oleObject" Target="../embeddings/oleObject25.bin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9.png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tags" Target="../tags/tag27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oleObject" Target="../embeddings/oleObject26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tags" Target="../tags/tag28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oleObject" Target="../embeddings/oleObject27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oleObject" Target="../embeddings/oleObject28.bin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tags" Target="../tags/tag2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theme" Target="../theme/theme5.xml"/><Relationship Id="rId8" Type="http://schemas.openxmlformats.org/officeDocument/2006/relationships/slideLayout" Target="../slideLayouts/slideLayout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oleObject" Target="../embeddings/oleObject52.bin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tags" Target="../tags/tag53.xml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theme" Target="../theme/theme6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026496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11277600" cy="75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add presentation title here</a:t>
            </a:r>
            <a:br>
              <a:rPr lang="en-US" noProof="0"/>
            </a:br>
            <a:r>
              <a:rPr lang="en-US" noProof="0"/>
              <a:t>It can be 2 lines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28774"/>
            <a:ext cx="11277600" cy="45720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 userDrawn="1"/>
        </p:nvSpPr>
        <p:spPr>
          <a:xfrm flipH="1">
            <a:off x="0" y="6597884"/>
            <a:ext cx="12193200" cy="18000"/>
          </a:xfrm>
          <a:prstGeom prst="rect">
            <a:avLst/>
          </a:prstGeom>
          <a:gradFill flip="none" rotWithShape="1">
            <a:gsLst>
              <a:gs pos="48000">
                <a:schemeClr val="accent2"/>
              </a:gs>
              <a:gs pos="5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pic>
        <p:nvPicPr>
          <p:cNvPr id="13" name="Afbeelding 2">
            <a:extLst>
              <a:ext uri="{FF2B5EF4-FFF2-40B4-BE49-F238E27FC236}">
                <a16:creationId xmlns:a16="http://schemas.microsoft.com/office/drawing/2014/main" id="{BB11CCE9-C709-4502-971C-75F798331A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13"/>
          <a:stretch/>
        </p:blipFill>
        <p:spPr>
          <a:xfrm>
            <a:off x="5891967" y="6641308"/>
            <a:ext cx="408066" cy="185882"/>
          </a:xfrm>
          <a:prstGeom prst="rect">
            <a:avLst/>
          </a:prstGeom>
        </p:spPr>
      </p:pic>
      <p:sp>
        <p:nvSpPr>
          <p:cNvPr id="5" name="MSIPCMContentMarking" descr="{&quot;HashCode&quot;:398228969,&quot;Placement&quot;:&quot;Footer&quot;,&quot;Top&quot;:521.912,&quot;Left&quot;:0.0,&quot;SlideWidth&quot;:960,&quot;SlideHeight&quot;:540}">
            <a:extLst>
              <a:ext uri="{FF2B5EF4-FFF2-40B4-BE49-F238E27FC236}">
                <a16:creationId xmlns:a16="http://schemas.microsoft.com/office/drawing/2014/main" id="{CB81E0C7-9933-480E-896B-CF288D1985BB}"/>
              </a:ext>
            </a:extLst>
          </p:cNvPr>
          <p:cNvSpPr txBox="1"/>
          <p:nvPr userDrawn="1"/>
        </p:nvSpPr>
        <p:spPr>
          <a:xfrm>
            <a:off x="0" y="6628282"/>
            <a:ext cx="1517328" cy="2297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</a:t>
            </a:r>
            <a:endParaRPr lang="en-US" sz="800" err="1">
              <a:solidFill>
                <a:srgbClr val="737373"/>
              </a:solidFill>
              <a:latin typeface="Averta Std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673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83" r:id="rId2"/>
    <p:sldLayoutId id="2147483858" r:id="rId3"/>
    <p:sldLayoutId id="2147483986" r:id="rId4"/>
    <p:sldLayoutId id="2147483905" r:id="rId5"/>
    <p:sldLayoutId id="2147483979" r:id="rId6"/>
    <p:sldLayoutId id="2147483981" r:id="rId7"/>
    <p:sldLayoutId id="2147483976" r:id="rId8"/>
    <p:sldLayoutId id="2147483987" r:id="rId9"/>
    <p:sldLayoutId id="2147483955" r:id="rId10"/>
    <p:sldLayoutId id="2147483977" r:id="rId11"/>
    <p:sldLayoutId id="2147483899" r:id="rId12"/>
    <p:sldLayoutId id="2147483980" r:id="rId13"/>
    <p:sldLayoutId id="2147483978" r:id="rId14"/>
    <p:sldLayoutId id="2147483988" r:id="rId15"/>
    <p:sldLayoutId id="2147483985" r:id="rId16"/>
    <p:sldLayoutId id="2147483989" r:id="rId17"/>
    <p:sldLayoutId id="2147483949" r:id="rId18"/>
    <p:sldLayoutId id="2147483990" r:id="rId19"/>
    <p:sldLayoutId id="2147483856" r:id="rId20"/>
    <p:sldLayoutId id="2147483863" r:id="rId21"/>
    <p:sldLayoutId id="2147483984" r:id="rId22"/>
    <p:sldLayoutId id="2147483864" r:id="rId23"/>
    <p:sldLayoutId id="2147483991" r:id="rId24"/>
    <p:sldLayoutId id="2147483903" r:id="rId25"/>
    <p:sldLayoutId id="2147483982" r:id="rId26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 userDrawn="1">
          <p15:clr>
            <a:srgbClr val="F26B43"/>
          </p15:clr>
        </p15:guide>
        <p15:guide id="3" orient="horz" pos="175" userDrawn="1">
          <p15:clr>
            <a:srgbClr val="F26B43"/>
          </p15:clr>
        </p15:guide>
        <p15:guide id="4" orient="horz" pos="996" userDrawn="1">
          <p15:clr>
            <a:srgbClr val="F26B43"/>
          </p15:clr>
        </p15:guide>
        <p15:guide id="5" pos="288" userDrawn="1">
          <p15:clr>
            <a:srgbClr val="F26B43"/>
          </p15:clr>
        </p15:guide>
        <p15:guide id="6" pos="7392" userDrawn="1">
          <p15:clr>
            <a:srgbClr val="F26B43"/>
          </p15:clr>
        </p15:guide>
        <p15:guide id="9" orient="horz" pos="4156" userDrawn="1">
          <p15:clr>
            <a:srgbClr val="F26B43"/>
          </p15:clr>
        </p15:guide>
        <p15:guide id="11" pos="3840" userDrawn="1">
          <p15:clr>
            <a:srgbClr val="F26B43"/>
          </p15:clr>
        </p15:guide>
        <p15:guide id="12" orient="horz" pos="3906" userDrawn="1">
          <p15:clr>
            <a:srgbClr val="F26B43"/>
          </p15:clr>
        </p15:guide>
        <p15:guide id="13" orient="horz" pos="1026" userDrawn="1">
          <p15:clr>
            <a:srgbClr val="F26B43"/>
          </p15:clr>
        </p15:guide>
        <p15:guide id="14" pos="3681" userDrawn="1">
          <p15:clr>
            <a:srgbClr val="F26B43"/>
          </p15:clr>
        </p15:guide>
        <p15:guide id="15" pos="3999" userDrawn="1">
          <p15:clr>
            <a:srgbClr val="F26B43"/>
          </p15:clr>
        </p15:guide>
        <p15:guide id="16" orient="horz" pos="67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 userDrawn="1"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bg2"/>
              </a:gs>
              <a:gs pos="0">
                <a:schemeClr val="tx2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21419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4" progId="TCLayout.ActiveDocument.1">
                  <p:embed/>
                </p:oleObj>
              </mc:Choice>
              <mc:Fallback>
                <p:oleObj name="think-cell Slide" r:id="rId26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3302"/>
            <a:ext cx="11277600" cy="4847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8413"/>
            <a:ext cx="11277600" cy="19389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F2DFCDE-2A90-2340-B709-FE2EC6CAD82E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0F7676-5A35-4543-AC41-D33EA13E19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2558" y="6484985"/>
            <a:ext cx="4508910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 algn="l">
              <a:buFont typeface="+mj-lt"/>
              <a:buNone/>
              <a:defRPr sz="800">
                <a:solidFill>
                  <a:schemeClr val="tx1"/>
                </a:solidFill>
              </a:defRPr>
            </a:lvl1pPr>
          </a:lstStyle>
          <a:p>
            <a:pPr>
              <a:tabLst>
                <a:tab pos="177800" algn="l"/>
              </a:tabLst>
            </a:pPr>
            <a:r>
              <a:rPr lang="en-GB">
                <a:cs typeface="Arial" panose="020B0604020202020204" pitchFamily="34" charset="0"/>
              </a:rPr>
              <a:t>C2 VodafoneZiggo Confidential</a:t>
            </a:r>
          </a:p>
        </p:txBody>
      </p:sp>
      <p:sp>
        <p:nvSpPr>
          <p:cNvPr id="4" name="MSIPCMContentMarking" descr="{&quot;HashCode&quot;:398228969,&quot;Placement&quot;:&quot;Footer&quot;,&quot;Top&quot;:521.912,&quot;Left&quot;:0.0,&quot;SlideWidth&quot;:960,&quot;SlideHeight&quot;:540}">
            <a:extLst>
              <a:ext uri="{FF2B5EF4-FFF2-40B4-BE49-F238E27FC236}">
                <a16:creationId xmlns:a16="http://schemas.microsoft.com/office/drawing/2014/main" id="{AA5B86D0-5BA6-48CA-96BA-E0F2CA1E5370}"/>
              </a:ext>
            </a:extLst>
          </p:cNvPr>
          <p:cNvSpPr txBox="1"/>
          <p:nvPr userDrawn="1"/>
        </p:nvSpPr>
        <p:spPr>
          <a:xfrm>
            <a:off x="0" y="6628282"/>
            <a:ext cx="1517328" cy="2297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</a:t>
            </a:r>
            <a:endParaRPr lang="nl-NL" sz="800" err="1">
              <a:solidFill>
                <a:srgbClr val="737373"/>
              </a:solidFill>
              <a:latin typeface="Averta Std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352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  <p:sldLayoutId id="2147484129" r:id="rId22"/>
    <p:sldLayoutId id="2147484159" r:id="rId23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6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4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accent3"/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725">
          <p15:clr>
            <a:srgbClr val="F26B43"/>
          </p15:clr>
        </p15:guide>
        <p15:guide id="13" orient="horz" pos="102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91008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3302"/>
            <a:ext cx="11277600" cy="4847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8413"/>
            <a:ext cx="11277600" cy="19389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F2DFCDE-2A90-2340-B709-FE2EC6CAD82E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7A976F2E-5EA5-164F-9E3D-F23C1F14A033}"/>
              </a:ext>
            </a:extLst>
          </p:cNvPr>
          <p:cNvSpPr txBox="1"/>
          <p:nvPr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endParaRPr lang="nl-NL"/>
          </a:p>
        </p:txBody>
      </p:sp>
      <p:sp>
        <p:nvSpPr>
          <p:cNvPr id="4" name="MSIPCMContentMarking" descr="{&quot;HashCode&quot;:398228969,&quot;Placement&quot;:&quot;Footer&quot;,&quot;Top&quot;:521.912,&quot;Left&quot;:0.0,&quot;SlideWidth&quot;:960,&quot;SlideHeight&quot;:540}">
            <a:extLst>
              <a:ext uri="{FF2B5EF4-FFF2-40B4-BE49-F238E27FC236}">
                <a16:creationId xmlns:a16="http://schemas.microsoft.com/office/drawing/2014/main" id="{41AF1B35-548A-4074-A2AD-AE6D94ADF32C}"/>
              </a:ext>
            </a:extLst>
          </p:cNvPr>
          <p:cNvSpPr txBox="1"/>
          <p:nvPr/>
        </p:nvSpPr>
        <p:spPr>
          <a:xfrm>
            <a:off x="0" y="6628282"/>
            <a:ext cx="1517328" cy="2297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</a:t>
            </a:r>
            <a:endParaRPr lang="nl-NL" sz="800" err="1">
              <a:solidFill>
                <a:srgbClr val="737373"/>
              </a:solidFill>
              <a:latin typeface="Averta Std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949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4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725">
          <p15:clr>
            <a:srgbClr val="F26B43"/>
          </p15:clr>
        </p15:guide>
        <p15:guide id="13" orient="horz" pos="102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 userDrawn="1"/>
        </p:nvSpPr>
        <p:spPr>
          <a:xfrm flipH="1">
            <a:off x="0" y="6284662"/>
            <a:ext cx="12193200" cy="36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95" imgH="394" progId="TCLayout.ActiveDocument.1">
                  <p:embed/>
                </p:oleObj>
              </mc:Choice>
              <mc:Fallback>
                <p:oleObj name="think-cell Slide" r:id="rId27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23302"/>
            <a:ext cx="11277600" cy="4847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68413"/>
            <a:ext cx="11277600" cy="19389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F2DFCDE-2A90-2340-B709-FE2EC6CAD82E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0250" y="6454178"/>
            <a:ext cx="571500" cy="25400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 userDrawn="1"/>
        </p:nvSpPr>
        <p:spPr>
          <a:xfrm>
            <a:off x="11547248" y="6519622"/>
            <a:ext cx="18755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rgbClr val="737373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7A976F2E-5EA5-164F-9E3D-F23C1F14A033}"/>
              </a:ext>
            </a:extLst>
          </p:cNvPr>
          <p:cNvSpPr txBox="1"/>
          <p:nvPr userDrawn="1"/>
        </p:nvSpPr>
        <p:spPr>
          <a:xfrm>
            <a:off x="457200" y="6519622"/>
            <a:ext cx="143629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C3 </a:t>
            </a:r>
            <a:r>
              <a:rPr lang="en-GB" sz="800" err="1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VodafoneZiggo</a:t>
            </a:r>
            <a:r>
              <a:rPr lang="en-GB" sz="800">
                <a:solidFill>
                  <a:srgbClr val="737373"/>
                </a:solidFill>
                <a:latin typeface="+mn-lt"/>
                <a:cs typeface="Arial" panose="020B0604020202020204" pitchFamily="34" charset="0"/>
              </a:rPr>
              <a:t> Confidential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4" name="MSIPCMContentMarking" descr="{&quot;HashCode&quot;:-1699574231,&quot;Placement&quot;:&quot;Footer&quot;,&quot;Top&quot;:523.380066,&quot;Left&quot;:0.0,&quot;SlideWidth&quot;:960,&quot;SlideHeight&quot;:540}">
            <a:extLst>
              <a:ext uri="{FF2B5EF4-FFF2-40B4-BE49-F238E27FC236}">
                <a16:creationId xmlns:a16="http://schemas.microsoft.com/office/drawing/2014/main" id="{0C206C6C-A9F5-4055-939D-AFF9CEEE84B6}"/>
              </a:ext>
            </a:extLst>
          </p:cNvPr>
          <p:cNvSpPr txBox="1"/>
          <p:nvPr userDrawn="1"/>
        </p:nvSpPr>
        <p:spPr>
          <a:xfrm>
            <a:off x="0" y="6646927"/>
            <a:ext cx="619703" cy="21107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700">
                <a:solidFill>
                  <a:srgbClr val="000000"/>
                </a:solidFill>
                <a:latin typeface="Calibri" panose="020F0502020204030204" pitchFamily="34" charset="0"/>
              </a:rPr>
              <a:t>C2 General</a:t>
            </a:r>
            <a:endParaRPr lang="nl-NL" sz="70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978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  <p:sldLayoutId id="2147484092" r:id="rId20"/>
    <p:sldLayoutId id="2147484093" r:id="rId21"/>
    <p:sldLayoutId id="2147484094" r:id="rId22"/>
    <p:sldLayoutId id="2147484095" r:id="rId23"/>
    <p:sldLayoutId id="2147484131" r:id="rId2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4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­"/>
        <a:defRPr sz="12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>
          <p15:clr>
            <a:srgbClr val="F26B43"/>
          </p15:clr>
        </p15:guide>
        <p15:guide id="3" orient="horz" pos="255">
          <p15:clr>
            <a:srgbClr val="F26B43"/>
          </p15:clr>
        </p15:guide>
        <p15:guide id="4" orient="horz" pos="799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725">
          <p15:clr>
            <a:srgbClr val="F26B43"/>
          </p15:clr>
        </p15:guide>
        <p15:guide id="13" orient="horz" pos="102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345529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95" imgH="394" progId="TCLayout.ActiveDocument.1">
                  <p:embed/>
                </p:oleObj>
              </mc:Choice>
              <mc:Fallback>
                <p:oleObj name="think-cell Slide" r:id="rId32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11277600" cy="75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add presentation title here</a:t>
            </a:r>
            <a:br>
              <a:rPr lang="en-US" noProof="0"/>
            </a:br>
            <a:r>
              <a:rPr lang="en-US" noProof="0"/>
              <a:t>It can be 2 lines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28774"/>
            <a:ext cx="11277600" cy="45720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/>
        </p:nvSpPr>
        <p:spPr>
          <a:xfrm flipH="1">
            <a:off x="0" y="6597884"/>
            <a:ext cx="12193200" cy="18000"/>
          </a:xfrm>
          <a:prstGeom prst="rect">
            <a:avLst/>
          </a:prstGeom>
          <a:gradFill flip="none" rotWithShape="1">
            <a:gsLst>
              <a:gs pos="48000">
                <a:schemeClr val="accent2"/>
              </a:gs>
              <a:gs pos="5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Afbeelding 2">
            <a:extLst>
              <a:ext uri="{FF2B5EF4-FFF2-40B4-BE49-F238E27FC236}">
                <a16:creationId xmlns:a16="http://schemas.microsoft.com/office/drawing/2014/main" id="{BB11CCE9-C709-4502-971C-75F798331A5B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13"/>
          <a:stretch/>
        </p:blipFill>
        <p:spPr>
          <a:xfrm>
            <a:off x="5891967" y="6641308"/>
            <a:ext cx="408066" cy="1858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57CF047-2D88-4A85-A442-7258F74777EE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90500" y="6423660"/>
            <a:ext cx="1282700" cy="24384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
</a:t>
            </a:r>
          </a:p>
        </p:txBody>
      </p:sp>
    </p:spTree>
    <p:extLst>
      <p:ext uri="{BB962C8B-B14F-4D97-AF65-F5344CB8AC3E}">
        <p14:creationId xmlns:p14="http://schemas.microsoft.com/office/powerpoint/2010/main" val="1589121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  <p:sldLayoutId id="2147484119" r:id="rId20"/>
    <p:sldLayoutId id="2147484120" r:id="rId21"/>
    <p:sldLayoutId id="2147484121" r:id="rId22"/>
    <p:sldLayoutId id="2147484122" r:id="rId23"/>
    <p:sldLayoutId id="2147484123" r:id="rId24"/>
    <p:sldLayoutId id="2147484124" r:id="rId25"/>
    <p:sldLayoutId id="2147484125" r:id="rId26"/>
    <p:sldLayoutId id="2147484126" r:id="rId27"/>
    <p:sldLayoutId id="2147484127" r:id="rId28"/>
    <p:sldLayoutId id="2147484128" r:id="rId2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175">
          <p15:clr>
            <a:srgbClr val="F26B43"/>
          </p15:clr>
        </p15:guide>
        <p15:guide id="4" orient="horz" pos="996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906">
          <p15:clr>
            <a:srgbClr val="F26B43"/>
          </p15:clr>
        </p15:guide>
        <p15:guide id="13" orient="horz" pos="1026">
          <p15:clr>
            <a:srgbClr val="F26B43"/>
          </p15:clr>
        </p15:guide>
        <p15:guide id="14" pos="3681">
          <p15:clr>
            <a:srgbClr val="F26B43"/>
          </p15:clr>
        </p15:guide>
        <p15:guide id="15" pos="3999">
          <p15:clr>
            <a:srgbClr val="F26B43"/>
          </p15:clr>
        </p15:guide>
        <p15:guide id="16" orient="horz" pos="67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026496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95" imgH="394" progId="TCLayout.ActiveDocument.1">
                  <p:embed/>
                </p:oleObj>
              </mc:Choice>
              <mc:Fallback>
                <p:oleObj name="think-cell Slide" r:id="rId29" imgW="395" imgH="39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11277600" cy="75088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add presentation title here</a:t>
            </a:r>
            <a:br>
              <a:rPr lang="en-US" noProof="0"/>
            </a:br>
            <a:r>
              <a:rPr lang="en-US" noProof="0"/>
              <a:t>It can be 2 lines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28774"/>
            <a:ext cx="11277600" cy="45720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  <a:p>
            <a:pPr lvl="5"/>
            <a:r>
              <a:rPr lang="en-GB" noProof="0"/>
              <a:t>Fifth level</a:t>
            </a:r>
          </a:p>
          <a:p>
            <a:pPr lvl="6"/>
            <a:r>
              <a:rPr lang="en-GB" noProof="0"/>
              <a:t>Sixth level</a:t>
            </a:r>
          </a:p>
          <a:p>
            <a:pPr lvl="7"/>
            <a:r>
              <a:rPr lang="en-GB" noProof="0"/>
              <a:t>Seventh level</a:t>
            </a:r>
          </a:p>
          <a:p>
            <a:pPr lvl="8"/>
            <a:r>
              <a:rPr lang="en-GB" noProof="0"/>
              <a:t>Eight level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F65F047D-B810-924A-80B6-BF64DCB5D6DC}"/>
              </a:ext>
            </a:extLst>
          </p:cNvPr>
          <p:cNvSpPr txBox="1"/>
          <p:nvPr userDrawn="1"/>
        </p:nvSpPr>
        <p:spPr>
          <a:xfrm>
            <a:off x="11797318" y="6655378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55B104-3A87-4B48-A644-C2D6FF7EEB7A}" type="slidenum">
              <a:rPr lang="en-GB" sz="80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lang="en-GB" sz="80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D82F5C98-9FE0-491F-B934-677909FF47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430627"/>
            <a:ext cx="11277600" cy="12311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rtl="0">
              <a:buFont typeface="+mj-lt"/>
              <a:buAutoNum type="arabicPeriod"/>
              <a:defRPr sz="800">
                <a:solidFill>
                  <a:schemeClr val="tx1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10" name="Rechthoek 11">
            <a:extLst>
              <a:ext uri="{FF2B5EF4-FFF2-40B4-BE49-F238E27FC236}">
                <a16:creationId xmlns:a16="http://schemas.microsoft.com/office/drawing/2014/main" id="{0036643D-2DF9-974C-A7DA-CDFC9948C52D}"/>
              </a:ext>
            </a:extLst>
          </p:cNvPr>
          <p:cNvSpPr/>
          <p:nvPr userDrawn="1"/>
        </p:nvSpPr>
        <p:spPr>
          <a:xfrm flipH="1">
            <a:off x="0" y="6597884"/>
            <a:ext cx="12193200" cy="18000"/>
          </a:xfrm>
          <a:prstGeom prst="rect">
            <a:avLst/>
          </a:prstGeom>
          <a:gradFill flip="none" rotWithShape="1">
            <a:gsLst>
              <a:gs pos="48000">
                <a:schemeClr val="accent2"/>
              </a:gs>
              <a:gs pos="52000">
                <a:schemeClr val="accent1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pic>
        <p:nvPicPr>
          <p:cNvPr id="13" name="Afbeelding 2">
            <a:extLst>
              <a:ext uri="{FF2B5EF4-FFF2-40B4-BE49-F238E27FC236}">
                <a16:creationId xmlns:a16="http://schemas.microsoft.com/office/drawing/2014/main" id="{BB11CCE9-C709-4502-971C-75F798331A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213"/>
          <a:stretch/>
        </p:blipFill>
        <p:spPr>
          <a:xfrm>
            <a:off x="5891967" y="6641308"/>
            <a:ext cx="408066" cy="185882"/>
          </a:xfrm>
          <a:prstGeom prst="rect">
            <a:avLst/>
          </a:prstGeom>
        </p:spPr>
      </p:pic>
      <p:sp>
        <p:nvSpPr>
          <p:cNvPr id="5" name="MSIPCMContentMarking" descr="{&quot;HashCode&quot;:398228969,&quot;Placement&quot;:&quot;Footer&quot;,&quot;Top&quot;:521.912,&quot;Left&quot;:0.0,&quot;SlideWidth&quot;:960,&quot;SlideHeight&quot;:540}">
            <a:extLst>
              <a:ext uri="{FF2B5EF4-FFF2-40B4-BE49-F238E27FC236}">
                <a16:creationId xmlns:a16="http://schemas.microsoft.com/office/drawing/2014/main" id="{E1FEB6EA-2048-460F-A619-BDA5F112FC52}"/>
              </a:ext>
            </a:extLst>
          </p:cNvPr>
          <p:cNvSpPr txBox="1"/>
          <p:nvPr userDrawn="1"/>
        </p:nvSpPr>
        <p:spPr>
          <a:xfrm>
            <a:off x="0" y="6628282"/>
            <a:ext cx="1517328" cy="229718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l-NL" sz="800">
                <a:solidFill>
                  <a:srgbClr val="737373"/>
                </a:solidFill>
                <a:latin typeface="Averta Std Light" panose="00000400000000000000" pitchFamily="50" charset="0"/>
              </a:rPr>
              <a:t>C2 VodafoneZiggo Internal</a:t>
            </a:r>
            <a:endParaRPr lang="nl-NL" sz="800" err="1">
              <a:solidFill>
                <a:srgbClr val="737373"/>
              </a:solidFill>
              <a:latin typeface="Averta Std Light" panose="000004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84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  <p:sldLayoutId id="2147484145" r:id="rId13"/>
    <p:sldLayoutId id="2147484146" r:id="rId14"/>
    <p:sldLayoutId id="2147484147" r:id="rId15"/>
    <p:sldLayoutId id="2147484148" r:id="rId16"/>
    <p:sldLayoutId id="2147484149" r:id="rId17"/>
    <p:sldLayoutId id="2147484150" r:id="rId18"/>
    <p:sldLayoutId id="2147484151" r:id="rId19"/>
    <p:sldLayoutId id="2147484152" r:id="rId20"/>
    <p:sldLayoutId id="2147484153" r:id="rId21"/>
    <p:sldLayoutId id="2147484154" r:id="rId22"/>
    <p:sldLayoutId id="2147484155" r:id="rId23"/>
    <p:sldLayoutId id="2147484156" r:id="rId24"/>
    <p:sldLayoutId id="2147484157" r:id="rId25"/>
    <p:sldLayoutId id="2147484158" r:id="rId26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600" kern="1200">
          <a:solidFill>
            <a:schemeClr val="tx1">
              <a:lumMod val="90000"/>
              <a:lumOff val="10000"/>
            </a:schemeClr>
          </a:solidFill>
          <a:latin typeface="+mj-lt"/>
          <a:ea typeface="+mn-ea"/>
          <a:cs typeface="Arial" panose="020B0604020202020204" pitchFamily="34" charset="0"/>
        </a:defRPr>
      </a:lvl1pPr>
      <a:lvl2pPr marL="171446" indent="-171446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366713" indent="-179388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568325" indent="-1809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6pPr>
      <a:lvl7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7pPr>
      <a:lvl8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8pPr>
      <a:lvl9pPr marL="787400" indent="-206375" algn="l" defTabSz="914377" rtl="0" eaLnBrk="1" latinLnBrk="0" hangingPunct="1">
        <a:lnSpc>
          <a:spcPct val="11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­"/>
        <a:defRPr sz="12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9pPr>
    </p:bodyStyle>
    <p:otherStyle>
      <a:defPPr>
        <a:defRPr lang="nl-N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8">
          <p15:clr>
            <a:srgbClr val="F26B43"/>
          </p15:clr>
        </p15:guide>
        <p15:guide id="3" orient="horz" pos="175">
          <p15:clr>
            <a:srgbClr val="F26B43"/>
          </p15:clr>
        </p15:guide>
        <p15:guide id="4" orient="horz" pos="996">
          <p15:clr>
            <a:srgbClr val="F26B43"/>
          </p15:clr>
        </p15:guide>
        <p15:guide id="5" pos="288">
          <p15:clr>
            <a:srgbClr val="F26B43"/>
          </p15:clr>
        </p15:guide>
        <p15:guide id="6" pos="7392">
          <p15:clr>
            <a:srgbClr val="F26B43"/>
          </p15:clr>
        </p15:guide>
        <p15:guide id="9" orient="horz" pos="4156">
          <p15:clr>
            <a:srgbClr val="F26B43"/>
          </p15:clr>
        </p15:guide>
        <p15:guide id="11" pos="3840">
          <p15:clr>
            <a:srgbClr val="F26B43"/>
          </p15:clr>
        </p15:guide>
        <p15:guide id="12" orient="horz" pos="3906">
          <p15:clr>
            <a:srgbClr val="F26B43"/>
          </p15:clr>
        </p15:guide>
        <p15:guide id="13" orient="horz" pos="1026">
          <p15:clr>
            <a:srgbClr val="F26B43"/>
          </p15:clr>
        </p15:guide>
        <p15:guide id="14" pos="3681">
          <p15:clr>
            <a:srgbClr val="F26B43"/>
          </p15:clr>
        </p15:guide>
        <p15:guide id="15" pos="3999">
          <p15:clr>
            <a:srgbClr val="F26B43"/>
          </p15:clr>
        </p15:guide>
        <p15:guide id="16" orient="horz" pos="6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58.svg"/><Relationship Id="rId7" Type="http://schemas.openxmlformats.org/officeDocument/2006/relationships/image" Target="../media/image69.sv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4.xml"/><Relationship Id="rId6" Type="http://schemas.openxmlformats.org/officeDocument/2006/relationships/image" Target="../media/image68.pn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58.svg"/><Relationship Id="rId7" Type="http://schemas.openxmlformats.org/officeDocument/2006/relationships/image" Target="../media/image7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4.xml"/><Relationship Id="rId6" Type="http://schemas.openxmlformats.org/officeDocument/2006/relationships/image" Target="../media/image71.jpeg"/><Relationship Id="rId5" Type="http://schemas.openxmlformats.org/officeDocument/2006/relationships/image" Target="../media/image69.svg"/><Relationship Id="rId4" Type="http://schemas.openxmlformats.org/officeDocument/2006/relationships/image" Target="../media/image68.png"/><Relationship Id="rId9" Type="http://schemas.openxmlformats.org/officeDocument/2006/relationships/image" Target="../media/image67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18" Type="http://schemas.openxmlformats.org/officeDocument/2006/relationships/image" Target="../media/image83.emf"/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12" Type="http://schemas.openxmlformats.org/officeDocument/2006/relationships/image" Target="../media/image77.png"/><Relationship Id="rId17" Type="http://schemas.openxmlformats.org/officeDocument/2006/relationships/image" Target="../media/image82.emf"/><Relationship Id="rId2" Type="http://schemas.openxmlformats.org/officeDocument/2006/relationships/tags" Target="../tags/tag79.xml"/><Relationship Id="rId16" Type="http://schemas.openxmlformats.org/officeDocument/2006/relationships/image" Target="../media/image81.emf"/><Relationship Id="rId1" Type="http://schemas.openxmlformats.org/officeDocument/2006/relationships/tags" Target="../tags/tag78.xml"/><Relationship Id="rId6" Type="http://schemas.openxmlformats.org/officeDocument/2006/relationships/oleObject" Target="../embeddings/oleObject77.bin"/><Relationship Id="rId11" Type="http://schemas.openxmlformats.org/officeDocument/2006/relationships/image" Target="../media/image76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4" Type="http://schemas.openxmlformats.org/officeDocument/2006/relationships/slideLayout" Target="../slideLayouts/slideLayout82.xml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81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9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9.png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82.xml"/><Relationship Id="rId6" Type="http://schemas.openxmlformats.org/officeDocument/2006/relationships/image" Target="../media/image8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6" Type="http://schemas.openxmlformats.org/officeDocument/2006/relationships/hyperlink" Target="https://zapier.com/blog/best-ai-image-generator/" TargetMode="External"/><Relationship Id="rId5" Type="http://schemas.openxmlformats.org/officeDocument/2006/relationships/hyperlink" Target="https://chat.openai.com/" TargetMode="External"/><Relationship Id="rId4" Type="http://schemas.openxmlformats.org/officeDocument/2006/relationships/image" Target="../media/image3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9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5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7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gif"/><Relationship Id="rId1" Type="http://schemas.openxmlformats.org/officeDocument/2006/relationships/slideLayout" Target="../slideLayouts/slideLayout7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7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eg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tiff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0.jpe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svg"/><Relationship Id="rId3" Type="http://schemas.microsoft.com/office/2018/10/relationships/comments" Target="../comments/modernComment_7FFFD4E3_A244185A.xml"/><Relationship Id="rId7" Type="http://schemas.openxmlformats.org/officeDocument/2006/relationships/image" Target="../media/image50.svg"/><Relationship Id="rId12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49.png"/><Relationship Id="rId11" Type="http://schemas.openxmlformats.org/officeDocument/2006/relationships/image" Target="../media/image54.svg"/><Relationship Id="rId5" Type="http://schemas.openxmlformats.org/officeDocument/2006/relationships/image" Target="../media/image48.sv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7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6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3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4.xml"/><Relationship Id="rId6" Type="http://schemas.microsoft.com/office/2007/relationships/diagramDrawing" Target="../diagrams/drawing1.xml"/><Relationship Id="rId11" Type="http://schemas.openxmlformats.org/officeDocument/2006/relationships/image" Target="../media/image61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65.jpeg"/><Relationship Id="rId10" Type="http://schemas.openxmlformats.org/officeDocument/2006/relationships/image" Target="../media/image60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73EF51F-4E24-4113-96DE-C89FDEEAD4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1CF35D2-DA90-40EC-82B4-C6D69DF632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57B8E7-6F75-4BC4-9F35-11279C4E1150}"/>
              </a:ext>
            </a:extLst>
          </p:cNvPr>
          <p:cNvSpPr/>
          <p:nvPr/>
        </p:nvSpPr>
        <p:spPr>
          <a:xfrm>
            <a:off x="0" y="238874"/>
            <a:ext cx="12192000" cy="6380251"/>
          </a:xfrm>
          <a:prstGeom prst="rect">
            <a:avLst/>
          </a:prstGeom>
          <a:gradFill flip="none" rotWithShape="1">
            <a:gsLst>
              <a:gs pos="0">
                <a:srgbClr val="E60000"/>
              </a:gs>
              <a:gs pos="100000">
                <a:schemeClr val="tx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0631C69-2BC4-41EB-9A17-0E96447B31DE}"/>
              </a:ext>
            </a:extLst>
          </p:cNvPr>
          <p:cNvSpPr txBox="1"/>
          <p:nvPr/>
        </p:nvSpPr>
        <p:spPr>
          <a:xfrm>
            <a:off x="328722" y="408242"/>
            <a:ext cx="11534556" cy="17851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1600" dirty="0">
                <a:solidFill>
                  <a:srgbClr val="FFFFFF"/>
                </a:solidFill>
                <a:latin typeface="Arial" panose="020B0604020202020204"/>
              </a:rPr>
              <a:t>(Gen)AI</a:t>
            </a:r>
            <a:endParaRPr kumimoji="0" lang="nl-NL" sz="20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281134A-1634-4464-856E-A2A8961FCC65}"/>
              </a:ext>
            </a:extLst>
          </p:cNvPr>
          <p:cNvSpPr txBox="1"/>
          <p:nvPr/>
        </p:nvSpPr>
        <p:spPr>
          <a:xfrm>
            <a:off x="1076325" y="2313442"/>
            <a:ext cx="1003935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VodafoneZigg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3DBBC52-3BAC-65E5-32A2-4706B9A130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5001" y="3165382"/>
            <a:ext cx="3608225" cy="360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278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FC7B4-1318-41FE-A96D-9DF50C19D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98064"/>
            <a:ext cx="11277600" cy="750887"/>
          </a:xfrm>
        </p:spPr>
        <p:txBody>
          <a:bodyPr/>
          <a:lstStyle/>
          <a:p>
            <a:r>
              <a:rPr lang="en-GB"/>
              <a:t>HR Chat – How does it work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09B902F-821F-D133-CDFA-E653E89FB1BA}"/>
              </a:ext>
            </a:extLst>
          </p:cNvPr>
          <p:cNvSpPr txBox="1"/>
          <p:nvPr/>
        </p:nvSpPr>
        <p:spPr>
          <a:xfrm>
            <a:off x="7232944" y="5846593"/>
            <a:ext cx="38635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Roboto" panose="020F0502020204030204" pitchFamily="34" charset="0"/>
                <a:ea typeface="+mn-ea"/>
                <a:cs typeface="+mn-cs"/>
              </a:rPr>
              <a:t>The testing interface of the D&amp;AI Chatbot Squad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Graphic 14" descr="Folder Search with solid fill">
            <a:extLst>
              <a:ext uri="{FF2B5EF4-FFF2-40B4-BE49-F238E27FC236}">
                <a16:creationId xmlns:a16="http://schemas.microsoft.com/office/drawing/2014/main" id="{17D5FB4C-F7B8-91C3-ABEB-FE1BA1EBD3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07340" y="3263119"/>
            <a:ext cx="1095498" cy="1095498"/>
          </a:xfrm>
          <a:prstGeom prst="rect">
            <a:avLst/>
          </a:prstGeom>
        </p:spPr>
      </p:pic>
      <p:pic>
        <p:nvPicPr>
          <p:cNvPr id="16" name="Graphic 15" descr="Chat bubble with solid fill">
            <a:extLst>
              <a:ext uri="{FF2B5EF4-FFF2-40B4-BE49-F238E27FC236}">
                <a16:creationId xmlns:a16="http://schemas.microsoft.com/office/drawing/2014/main" id="{76F8C5B6-7A04-4C88-176E-734080C3EE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05691" y="4552397"/>
            <a:ext cx="914400" cy="914400"/>
          </a:xfrm>
          <a:prstGeom prst="rect">
            <a:avLst/>
          </a:prstGeom>
        </p:spPr>
      </p:pic>
      <p:pic>
        <p:nvPicPr>
          <p:cNvPr id="17" name="Graphic 16" descr="Badge Question Mark with solid fill">
            <a:extLst>
              <a:ext uri="{FF2B5EF4-FFF2-40B4-BE49-F238E27FC236}">
                <a16:creationId xmlns:a16="http://schemas.microsoft.com/office/drawing/2014/main" id="{DF557462-FB2F-9302-B347-7752F5CAF1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7889" y="1903425"/>
            <a:ext cx="914400" cy="914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C5A5598-FF0F-9223-1088-8FB4FC05170E}"/>
              </a:ext>
            </a:extLst>
          </p:cNvPr>
          <p:cNvSpPr txBox="1"/>
          <p:nvPr/>
        </p:nvSpPr>
        <p:spPr>
          <a:xfrm>
            <a:off x="1257308" y="2083626"/>
            <a:ext cx="173124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mployee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ks a ques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682223-5F61-7088-68ED-40CC7F04CBD0}"/>
              </a:ext>
            </a:extLst>
          </p:cNvPr>
          <p:cNvSpPr txBox="1"/>
          <p:nvPr/>
        </p:nvSpPr>
        <p:spPr>
          <a:xfrm>
            <a:off x="1249505" y="3318900"/>
            <a:ext cx="233015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 AI model </a:t>
            </a: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rieves</a:t>
            </a:r>
            <a:b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levant documents about HR polic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EC4A23D-A815-DC7E-3D9A-D9174F1270D3}"/>
              </a:ext>
            </a:extLst>
          </p:cNvPr>
          <p:cNvSpPr txBox="1"/>
          <p:nvPr/>
        </p:nvSpPr>
        <p:spPr>
          <a:xfrm>
            <a:off x="1257307" y="4553658"/>
            <a:ext cx="233015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tGPT </a:t>
            </a: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tes an answer</a:t>
            </a: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ased on the question, how to behave and relevant documents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9CEE9BD-83BF-2D9F-AD69-2B6D866FBE08}"/>
              </a:ext>
            </a:extLst>
          </p:cNvPr>
          <p:cNvSpPr/>
          <p:nvPr/>
        </p:nvSpPr>
        <p:spPr>
          <a:xfrm>
            <a:off x="551337" y="2107297"/>
            <a:ext cx="544171" cy="54417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7C0BB6D-DDFB-5F96-8E04-FAF905E55C39}"/>
              </a:ext>
            </a:extLst>
          </p:cNvPr>
          <p:cNvSpPr/>
          <p:nvPr/>
        </p:nvSpPr>
        <p:spPr>
          <a:xfrm>
            <a:off x="551337" y="3328727"/>
            <a:ext cx="544171" cy="54417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454F3D0E-4802-8452-E627-3808AAB3B928}"/>
              </a:ext>
            </a:extLst>
          </p:cNvPr>
          <p:cNvSpPr/>
          <p:nvPr/>
        </p:nvSpPr>
        <p:spPr>
          <a:xfrm>
            <a:off x="559139" y="4737511"/>
            <a:ext cx="544171" cy="54417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617141C5-5BCB-11BE-6464-DF1A6BB923B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1800" y="1265055"/>
            <a:ext cx="3864692" cy="456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6102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FC7B4-1318-41FE-A96D-9DF50C19D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98064"/>
            <a:ext cx="11277600" cy="750887"/>
          </a:xfrm>
        </p:spPr>
        <p:txBody>
          <a:bodyPr/>
          <a:lstStyle/>
          <a:p>
            <a:r>
              <a:rPr lang="en-GB"/>
              <a:t>HR Chat – Under the hood: how do we get an answer?</a:t>
            </a:r>
          </a:p>
        </p:txBody>
      </p:sp>
      <p:pic>
        <p:nvPicPr>
          <p:cNvPr id="15" name="Graphic 14" descr="Folder Search with solid fill">
            <a:extLst>
              <a:ext uri="{FF2B5EF4-FFF2-40B4-BE49-F238E27FC236}">
                <a16:creationId xmlns:a16="http://schemas.microsoft.com/office/drawing/2014/main" id="{17D5FB4C-F7B8-91C3-ABEB-FE1BA1EBD3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75754" y="1409228"/>
            <a:ext cx="1095498" cy="1095498"/>
          </a:xfrm>
          <a:prstGeom prst="rect">
            <a:avLst/>
          </a:prstGeom>
        </p:spPr>
      </p:pic>
      <p:pic>
        <p:nvPicPr>
          <p:cNvPr id="17" name="Graphic 16" descr="Badge Question Mark with solid fill">
            <a:extLst>
              <a:ext uri="{FF2B5EF4-FFF2-40B4-BE49-F238E27FC236}">
                <a16:creationId xmlns:a16="http://schemas.microsoft.com/office/drawing/2014/main" id="{DF557462-FB2F-9302-B347-7752F5CAF1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0744" y="1444784"/>
            <a:ext cx="914400" cy="9144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0C5A5598-FF0F-9223-1088-8FB4FC05170E}"/>
              </a:ext>
            </a:extLst>
          </p:cNvPr>
          <p:cNvSpPr txBox="1"/>
          <p:nvPr/>
        </p:nvSpPr>
        <p:spPr>
          <a:xfrm>
            <a:off x="535923" y="2397474"/>
            <a:ext cx="118404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ques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0682223-5F61-7088-68ED-40CC7F04CBD0}"/>
              </a:ext>
            </a:extLst>
          </p:cNvPr>
          <p:cNvSpPr txBox="1"/>
          <p:nvPr/>
        </p:nvSpPr>
        <p:spPr>
          <a:xfrm>
            <a:off x="3188780" y="2393967"/>
            <a:ext cx="165719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Five) relevant document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047CC4-2250-E3D7-1B77-CBE0ABFE4206}"/>
              </a:ext>
            </a:extLst>
          </p:cNvPr>
          <p:cNvSpPr txBox="1"/>
          <p:nvPr/>
        </p:nvSpPr>
        <p:spPr>
          <a:xfrm>
            <a:off x="1585144" y="3251023"/>
            <a:ext cx="26190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 prompt forma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FEDD877-CB95-B71F-F656-9EAE6A3B77BA}"/>
              </a:ext>
            </a:extLst>
          </p:cNvPr>
          <p:cNvSpPr txBox="1"/>
          <p:nvPr/>
        </p:nvSpPr>
        <p:spPr>
          <a:xfrm>
            <a:off x="366367" y="3600998"/>
            <a:ext cx="4310342" cy="29238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Je bent de HR-chatbot van VodafoneZiggo. J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help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medewerker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met he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antwoord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va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over contract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salari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akanti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ander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diverse HR-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gerelateerd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zak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.    J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lg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lgend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richtlijn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: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	J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spreek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ederland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	J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antwoord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zoveel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mogelijk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me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hulp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van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ocument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in de context, in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envoudig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woordin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   	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gebruike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zie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ez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contex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ie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u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vat je de contex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sam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al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i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odig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is in he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antwoor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	Als he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antwoord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instructi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is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o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medewerke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geef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j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stap-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o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stap plan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	Als er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word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erwez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aa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IT-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systeem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a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ie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uidelijk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ui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de contex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lijk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word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erwez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aa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Oracl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o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algemen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of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over GROW, Benefit Connect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o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ergoeding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budget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Progress4u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oo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cursuss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-	Als je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ag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ie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ka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antwoord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met de context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word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medewerke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doorverwez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naa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HelloHR,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t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reiken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met link https://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ziggo.topdesk.net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/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tas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/public/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ssp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/.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" panose="02070309020205020404" pitchFamily="49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begin van context: {context}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einde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van context   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urier" panose="02070309020205020404" pitchFamily="49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Vraag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 van de 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medewerker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urier" panose="02070309020205020404" pitchFamily="49" charset="0"/>
                <a:ea typeface="+mn-ea"/>
                <a:cs typeface="+mn-cs"/>
              </a:rPr>
              <a:t>: {query}</a:t>
            </a:r>
            <a:endParaRPr kumimoji="0" lang="en-NL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074" name="Picture 2" descr="Weekly Tech Recap - № 366 - Hard drive sales, Apple Lisa, the ...">
            <a:extLst>
              <a:ext uri="{FF2B5EF4-FFF2-40B4-BE49-F238E27FC236}">
                <a16:creationId xmlns:a16="http://schemas.microsoft.com/office/drawing/2014/main" id="{18DECF69-EFC1-6583-15B0-5009B456E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20001" y="2912679"/>
            <a:ext cx="2195292" cy="1376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Plus 41">
            <a:extLst>
              <a:ext uri="{FF2B5EF4-FFF2-40B4-BE49-F238E27FC236}">
                <a16:creationId xmlns:a16="http://schemas.microsoft.com/office/drawing/2014/main" id="{5CADA98F-56E4-A2F1-61F6-DF240E2EC3C6}"/>
              </a:ext>
            </a:extLst>
          </p:cNvPr>
          <p:cNvSpPr/>
          <p:nvPr/>
        </p:nvSpPr>
        <p:spPr>
          <a:xfrm>
            <a:off x="2085321" y="1638349"/>
            <a:ext cx="763009" cy="755618"/>
          </a:xfrm>
          <a:prstGeom prst="mathPlus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ight Brace 42">
            <a:extLst>
              <a:ext uri="{FF2B5EF4-FFF2-40B4-BE49-F238E27FC236}">
                <a16:creationId xmlns:a16="http://schemas.microsoft.com/office/drawing/2014/main" id="{F482F257-2933-431A-A4DE-7B488383DE4F}"/>
              </a:ext>
            </a:extLst>
          </p:cNvPr>
          <p:cNvSpPr/>
          <p:nvPr/>
        </p:nvSpPr>
        <p:spPr>
          <a:xfrm rot="5400000">
            <a:off x="2580283" y="939452"/>
            <a:ext cx="221334" cy="4310056"/>
          </a:xfrm>
          <a:prstGeom prst="rightBrac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Extract 43">
            <a:extLst>
              <a:ext uri="{FF2B5EF4-FFF2-40B4-BE49-F238E27FC236}">
                <a16:creationId xmlns:a16="http://schemas.microsoft.com/office/drawing/2014/main" id="{E3F31BC8-F0F5-9D53-EBE6-04DC06B0F015}"/>
              </a:ext>
            </a:extLst>
          </p:cNvPr>
          <p:cNvSpPr/>
          <p:nvPr/>
        </p:nvSpPr>
        <p:spPr>
          <a:xfrm rot="5400000">
            <a:off x="4613373" y="3518488"/>
            <a:ext cx="939232" cy="165020"/>
          </a:xfrm>
          <a:prstGeom prst="flowChartExtra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CE2EA7CD-42AE-DAD3-56F0-693A93A7587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7383" y="1638349"/>
            <a:ext cx="3548694" cy="4192139"/>
          </a:xfrm>
          <a:prstGeom prst="rect">
            <a:avLst/>
          </a:prstGeom>
        </p:spPr>
      </p:pic>
      <p:sp>
        <p:nvSpPr>
          <p:cNvPr id="46" name="Extract 45">
            <a:extLst>
              <a:ext uri="{FF2B5EF4-FFF2-40B4-BE49-F238E27FC236}">
                <a16:creationId xmlns:a16="http://schemas.microsoft.com/office/drawing/2014/main" id="{329E5BCA-FCD2-DF80-EF92-D3FCA242A83B}"/>
              </a:ext>
            </a:extLst>
          </p:cNvPr>
          <p:cNvSpPr/>
          <p:nvPr/>
        </p:nvSpPr>
        <p:spPr>
          <a:xfrm rot="5400000">
            <a:off x="7341722" y="3445512"/>
            <a:ext cx="939232" cy="165020"/>
          </a:xfrm>
          <a:prstGeom prst="flowChartExtra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Graphic 2" descr="Chat bubble with solid fill">
            <a:extLst>
              <a:ext uri="{FF2B5EF4-FFF2-40B4-BE49-F238E27FC236}">
                <a16:creationId xmlns:a16="http://schemas.microsoft.com/office/drawing/2014/main" id="{6B0F7BD7-2F31-0E89-258D-D3AEB8139D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50563" y="49482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6360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5FD1A3-A98B-1D9E-BC64-30F478017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rvice Sca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90B7B6-8275-ADD5-DD0B-4A77966468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015038"/>
            <a:ext cx="7146925" cy="192087"/>
          </a:xfrm>
        </p:spPr>
        <p:txBody>
          <a:bodyPr/>
          <a:lstStyle/>
          <a:p>
            <a:pPr marL="177800" marR="0" lvl="0" indent="-17780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177800" algn="l"/>
              </a:tabLst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sert optional footnote(s) here</a:t>
            </a:r>
          </a:p>
        </p:txBody>
      </p:sp>
    </p:spTree>
    <p:extLst>
      <p:ext uri="{BB962C8B-B14F-4D97-AF65-F5344CB8AC3E}">
        <p14:creationId xmlns:p14="http://schemas.microsoft.com/office/powerpoint/2010/main" val="12510800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245ABE8-BF6D-4449-B3BA-68426F51E2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245ABE8-BF6D-4449-B3BA-68426F51E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373578F-0458-4B66-B028-2C2368B21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77801"/>
            <a:ext cx="11277600" cy="742674"/>
          </a:xfrm>
        </p:spPr>
        <p:txBody>
          <a:bodyPr vert="horz"/>
          <a:lstStyle/>
          <a:p>
            <a:r>
              <a:rPr lang="nl-NL" err="1">
                <a:solidFill>
                  <a:schemeClr val="tx1"/>
                </a:solidFill>
              </a:rPr>
              <a:t>Creating</a:t>
            </a:r>
            <a:r>
              <a:rPr lang="nl-NL">
                <a:solidFill>
                  <a:schemeClr val="tx1"/>
                </a:solidFill>
              </a:rPr>
              <a:t> a new service </a:t>
            </a:r>
            <a:r>
              <a:rPr lang="nl-NL" err="1">
                <a:solidFill>
                  <a:schemeClr val="tx1"/>
                </a:solidFill>
              </a:rPr>
              <a:t>proposition</a:t>
            </a:r>
            <a:r>
              <a:rPr lang="nl-NL">
                <a:solidFill>
                  <a:schemeClr val="tx1"/>
                </a:solidFill>
              </a:rPr>
              <a:t> as part of </a:t>
            </a:r>
            <a:r>
              <a:rPr lang="nl-NL" err="1">
                <a:solidFill>
                  <a:schemeClr val="tx1"/>
                </a:solidFill>
              </a:rPr>
              <a:t>our</a:t>
            </a:r>
            <a:r>
              <a:rPr lang="nl-NL">
                <a:solidFill>
                  <a:schemeClr val="tx1"/>
                </a:solidFill>
              </a:rPr>
              <a:t> </a:t>
            </a:r>
            <a:r>
              <a:rPr lang="nl-NL" err="1">
                <a:solidFill>
                  <a:schemeClr val="tx1"/>
                </a:solidFill>
              </a:rPr>
              <a:t>Exceptional</a:t>
            </a:r>
            <a:r>
              <a:rPr lang="nl-NL">
                <a:solidFill>
                  <a:schemeClr val="tx1"/>
                </a:solidFill>
              </a:rPr>
              <a:t> CX </a:t>
            </a:r>
            <a:r>
              <a:rPr lang="nl-NL" err="1">
                <a:solidFill>
                  <a:schemeClr val="tx1"/>
                </a:solidFill>
              </a:rPr>
              <a:t>ambition</a:t>
            </a:r>
            <a:endParaRPr lang="nl-NL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8B1B3CA-42A4-4CF8-84B8-0D9DB2D9D0B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9822" y="1162496"/>
            <a:ext cx="8877347" cy="2280205"/>
          </a:xfrm>
          <a:prstGeom prst="rect">
            <a:avLst/>
          </a:prstGeom>
        </p:spPr>
      </p:pic>
      <p:sp>
        <p:nvSpPr>
          <p:cNvPr id="259" name="Text Placeholder 3">
            <a:extLst>
              <a:ext uri="{FF2B5EF4-FFF2-40B4-BE49-F238E27FC236}">
                <a16:creationId xmlns:a16="http://schemas.microsoft.com/office/drawing/2014/main" id="{EED470BD-A95B-4E8D-95EA-630B009219BE}"/>
              </a:ext>
            </a:extLst>
          </p:cNvPr>
          <p:cNvSpPr txBox="1">
            <a:spLocks/>
          </p:cNvSpPr>
          <p:nvPr/>
        </p:nvSpPr>
        <p:spPr>
          <a:xfrm>
            <a:off x="8483319" y="4048559"/>
            <a:ext cx="3506430" cy="41751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1" kern="1200" cap="all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1446" indent="-171446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2pPr>
            <a:lvl3pPr marL="366713" indent="-179388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3pPr>
            <a:lvl4pPr marL="568325" indent="-1809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6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4pPr>
            <a:lvl5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4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5pPr>
            <a:lvl6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8pPr>
            <a:lvl9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/>
              </a:rPr>
              <a:t>WiFi</a:t>
            </a: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/>
              </a:rPr>
              <a:t> Crew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 team of experts that is always ready to help you solve your issues and does not stop until it is solved with the help of Virtual Customer Support system.</a:t>
            </a:r>
            <a:endParaRPr kumimoji="0" lang="en-US" sz="1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/>
            </a:endParaRPr>
          </a:p>
        </p:txBody>
      </p:sp>
      <p:pic>
        <p:nvPicPr>
          <p:cNvPr id="116" name="Picture 121" descr="Logo, icon&#10;&#10;Description automatically generated">
            <a:extLst>
              <a:ext uri="{FF2B5EF4-FFF2-40B4-BE49-F238E27FC236}">
                <a16:creationId xmlns:a16="http://schemas.microsoft.com/office/drawing/2014/main" id="{A8FE5DB8-91B9-4B4D-90D3-D08B472D472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7155" y="5316038"/>
            <a:ext cx="806878" cy="834457"/>
          </a:xfrm>
          <a:prstGeom prst="rect">
            <a:avLst/>
          </a:prstGeom>
        </p:spPr>
      </p:pic>
      <p:pic>
        <p:nvPicPr>
          <p:cNvPr id="117" name="Picture 4">
            <a:extLst>
              <a:ext uri="{FF2B5EF4-FFF2-40B4-BE49-F238E27FC236}">
                <a16:creationId xmlns:a16="http://schemas.microsoft.com/office/drawing/2014/main" id="{93D5D8EF-5DAE-4B2F-BB46-AD4AFF1AFFB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1343" y="4625222"/>
            <a:ext cx="838501" cy="834456"/>
          </a:xfrm>
          <a:prstGeom prst="rect">
            <a:avLst/>
          </a:prstGeom>
        </p:spPr>
      </p:pic>
      <p:pic>
        <p:nvPicPr>
          <p:cNvPr id="118" name="Afbeelding 39">
            <a:extLst>
              <a:ext uri="{FF2B5EF4-FFF2-40B4-BE49-F238E27FC236}">
                <a16:creationId xmlns:a16="http://schemas.microsoft.com/office/drawing/2014/main" id="{22CD1A3D-A25B-4590-A6E2-B559CC41A36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7895" y="4744335"/>
            <a:ext cx="642763" cy="571703"/>
          </a:xfrm>
          <a:prstGeom prst="rect">
            <a:avLst/>
          </a:prstGeom>
        </p:spPr>
      </p:pic>
      <p:pic>
        <p:nvPicPr>
          <p:cNvPr id="119" name="Afbeelding 40">
            <a:extLst>
              <a:ext uri="{FF2B5EF4-FFF2-40B4-BE49-F238E27FC236}">
                <a16:creationId xmlns:a16="http://schemas.microsoft.com/office/drawing/2014/main" id="{072454B5-6EF5-414B-8F9D-82BE06A8D995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1989" y="5588511"/>
            <a:ext cx="534972" cy="441604"/>
          </a:xfrm>
          <a:prstGeom prst="rect">
            <a:avLst/>
          </a:prstGeom>
        </p:spPr>
      </p:pic>
      <p:pic>
        <p:nvPicPr>
          <p:cNvPr id="122" name="Picture 121" descr="A picture containing calendar&#10;&#10;Description automatically generated">
            <a:extLst>
              <a:ext uri="{FF2B5EF4-FFF2-40B4-BE49-F238E27FC236}">
                <a16:creationId xmlns:a16="http://schemas.microsoft.com/office/drawing/2014/main" id="{B13D67B4-0823-4DAB-9E99-230310A14D96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9073" y="4824989"/>
            <a:ext cx="1692783" cy="1171744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4AA7281-DC22-403B-A445-C7B6B97D198C}"/>
              </a:ext>
            </a:extLst>
          </p:cNvPr>
          <p:cNvSpPr txBox="1">
            <a:spLocks/>
          </p:cNvSpPr>
          <p:nvPr/>
        </p:nvSpPr>
        <p:spPr>
          <a:xfrm>
            <a:off x="4171307" y="4054349"/>
            <a:ext cx="3845280" cy="41751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1" kern="1200" cap="all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1446" indent="-171446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2pPr>
            <a:lvl3pPr marL="366713" indent="-179388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3pPr>
            <a:lvl4pPr marL="568325" indent="-1809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6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4pPr>
            <a:lvl5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4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5pPr>
            <a:lvl6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8pPr>
            <a:lvl9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/>
              </a:rPr>
              <a:t>Ziggo </a:t>
            </a:r>
            <a:r>
              <a:rPr kumimoji="0" lang="en-US" sz="1200" b="1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/>
              </a:rPr>
              <a:t>ServiceScan</a:t>
            </a:r>
            <a:endParaRPr kumimoji="0" lang="en-US" sz="1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We proactively contact our customers based on smart signal data to check if they are experiencing issues &amp; ensure they have a perfect set-up through the ‘Ziggo Extra Service </a:t>
            </a:r>
            <a:r>
              <a:rPr kumimoji="0" lang="en-US" sz="1000" b="0" i="1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clusief</a:t>
            </a: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’ Technician</a:t>
            </a:r>
            <a:endParaRPr kumimoji="0" lang="en-US" sz="1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A96E156-6B83-4DF2-A5C2-B2B89B99D888}"/>
              </a:ext>
            </a:extLst>
          </p:cNvPr>
          <p:cNvSpPr txBox="1">
            <a:spLocks/>
          </p:cNvSpPr>
          <p:nvPr/>
        </p:nvSpPr>
        <p:spPr>
          <a:xfrm>
            <a:off x="313346" y="4054348"/>
            <a:ext cx="3284238" cy="41751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1" kern="1200" cap="all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71446" indent="-171446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2pPr>
            <a:lvl3pPr marL="366713" indent="-179388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8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3pPr>
            <a:lvl4pPr marL="568325" indent="-1809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6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4pPr>
            <a:lvl5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400" kern="120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0"/>
                </a:gradFill>
                <a:latin typeface="+mj-lt"/>
                <a:ea typeface="+mn-ea"/>
                <a:cs typeface="Arial" panose="020B0604020202020204" pitchFamily="34" charset="0"/>
              </a:defRPr>
            </a:lvl5pPr>
            <a:lvl6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6pPr>
            <a:lvl7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7pPr>
            <a:lvl8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8pPr>
            <a:lvl9pPr marL="787400" indent="-206375" algn="l" defTabSz="914377" rtl="0" eaLnBrk="1" latinLnBrk="0" hangingPunct="1">
              <a:lnSpc>
                <a:spcPct val="11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/>
              </a:rPr>
              <a:t>Installation the way you want it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lthough we let our customers start with self-install, we provide them with the option of direct, fast and high-quality support with our Installation Crew. </a:t>
            </a:r>
            <a:endParaRPr kumimoji="0" lang="en-US" sz="1000" b="1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/>
            </a:endParaRPr>
          </a:p>
        </p:txBody>
      </p:sp>
      <p:pic>
        <p:nvPicPr>
          <p:cNvPr id="274" name="Picture 273">
            <a:extLst>
              <a:ext uri="{FF2B5EF4-FFF2-40B4-BE49-F238E27FC236}">
                <a16:creationId xmlns:a16="http://schemas.microsoft.com/office/drawing/2014/main" id="{C2E0F73C-AFB4-4E14-AB6D-1210C8B8515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2671" y="4693994"/>
            <a:ext cx="328579" cy="261990"/>
          </a:xfrm>
          <a:prstGeom prst="rect">
            <a:avLst/>
          </a:prstGeom>
        </p:spPr>
      </p:pic>
      <p:pic>
        <p:nvPicPr>
          <p:cNvPr id="21" name="Picture 10">
            <a:extLst>
              <a:ext uri="{FF2B5EF4-FFF2-40B4-BE49-F238E27FC236}">
                <a16:creationId xmlns:a16="http://schemas.microsoft.com/office/drawing/2014/main" id="{CB0C49E2-A3F2-4CAA-9A33-4A53B550B7B6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84331" y="4877281"/>
            <a:ext cx="2504407" cy="10671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7" name="Group 17">
            <a:extLst>
              <a:ext uri="{FF2B5EF4-FFF2-40B4-BE49-F238E27FC236}">
                <a16:creationId xmlns:a16="http://schemas.microsoft.com/office/drawing/2014/main" id="{FCE55975-011B-4A1F-B942-1EE8586050AF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 rot="5400000">
            <a:off x="4894915" y="2941639"/>
            <a:ext cx="2402178" cy="4091739"/>
            <a:chOff x="4511496" y="999923"/>
            <a:chExt cx="2989942" cy="5438133"/>
          </a:xfrm>
        </p:grpSpPr>
        <p:pic>
          <p:nvPicPr>
            <p:cNvPr id="18" name="RedSingleStroke4">
              <a:extLst>
                <a:ext uri="{FF2B5EF4-FFF2-40B4-BE49-F238E27FC236}">
                  <a16:creationId xmlns:a16="http://schemas.microsoft.com/office/drawing/2014/main" id="{C565F048-3C05-4D43-B534-0F1C5E344081}"/>
                </a:ext>
              </a:extLst>
            </p:cNvPr>
            <p:cNvPicPr>
              <a:picLocks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6184" y="999923"/>
              <a:ext cx="2868344" cy="113820"/>
            </a:xfrm>
            <a:prstGeom prst="rect">
              <a:avLst/>
            </a:prstGeom>
          </p:spPr>
        </p:pic>
        <p:pic>
          <p:nvPicPr>
            <p:cNvPr id="23" name="RedSingleStroke3">
              <a:extLst>
                <a:ext uri="{FF2B5EF4-FFF2-40B4-BE49-F238E27FC236}">
                  <a16:creationId xmlns:a16="http://schemas.microsoft.com/office/drawing/2014/main" id="{59D15DE7-9197-4B59-821B-45A91796A9DD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917916" y="3715101"/>
              <a:ext cx="5316535" cy="129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RedSingleStroke5">
              <a:extLst>
                <a:ext uri="{FF2B5EF4-FFF2-40B4-BE49-F238E27FC236}">
                  <a16:creationId xmlns:a16="http://schemas.microsoft.com/office/drawing/2014/main" id="{A3A0B78B-3B3B-4D7A-8376-992DB3EC8F4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6184" y="6315150"/>
              <a:ext cx="2868344" cy="1164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RedSingleStroke4">
              <a:extLst>
                <a:ext uri="{FF2B5EF4-FFF2-40B4-BE49-F238E27FC236}">
                  <a16:creationId xmlns:a16="http://schemas.microsoft.com/office/drawing/2014/main" id="{4EBDB3F0-B3F8-4E1D-8D11-73F3F2F2D3DF}"/>
                </a:ext>
              </a:extLst>
            </p:cNvPr>
            <p:cNvPicPr>
              <a:picLocks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4786260" y="3715100"/>
              <a:ext cx="5316535" cy="113820"/>
            </a:xfrm>
            <a:prstGeom prst="rect">
              <a:avLst/>
            </a:prstGeom>
          </p:spPr>
        </p:pic>
      </p:grpSp>
      <p:grpSp>
        <p:nvGrpSpPr>
          <p:cNvPr id="26" name="Group 17">
            <a:extLst>
              <a:ext uri="{FF2B5EF4-FFF2-40B4-BE49-F238E27FC236}">
                <a16:creationId xmlns:a16="http://schemas.microsoft.com/office/drawing/2014/main" id="{8EDB6EE3-BC0F-4AAE-B645-D1865D58976E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 rot="5400000">
            <a:off x="10713906" y="6029589"/>
            <a:ext cx="414610" cy="1135053"/>
            <a:chOff x="4511496" y="999923"/>
            <a:chExt cx="2989942" cy="5438133"/>
          </a:xfrm>
        </p:grpSpPr>
        <p:pic>
          <p:nvPicPr>
            <p:cNvPr id="27" name="RedSingleStroke4">
              <a:extLst>
                <a:ext uri="{FF2B5EF4-FFF2-40B4-BE49-F238E27FC236}">
                  <a16:creationId xmlns:a16="http://schemas.microsoft.com/office/drawing/2014/main" id="{FCFFDF06-34F4-4531-A14C-DF87A5A73E4F}"/>
                </a:ext>
              </a:extLst>
            </p:cNvPr>
            <p:cNvPicPr>
              <a:picLocks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76184" y="999923"/>
              <a:ext cx="2868344" cy="113820"/>
            </a:xfrm>
            <a:prstGeom prst="rect">
              <a:avLst/>
            </a:prstGeom>
          </p:spPr>
        </p:pic>
        <p:pic>
          <p:nvPicPr>
            <p:cNvPr id="28" name="RedSingleStroke3">
              <a:extLst>
                <a:ext uri="{FF2B5EF4-FFF2-40B4-BE49-F238E27FC236}">
                  <a16:creationId xmlns:a16="http://schemas.microsoft.com/office/drawing/2014/main" id="{242448CD-3C76-4EEB-BBD4-38EF30801639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1917916" y="3715101"/>
              <a:ext cx="5316535" cy="129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RedSingleStroke5">
              <a:extLst>
                <a:ext uri="{FF2B5EF4-FFF2-40B4-BE49-F238E27FC236}">
                  <a16:creationId xmlns:a16="http://schemas.microsoft.com/office/drawing/2014/main" id="{084ED578-B41A-438E-8E48-06AF65171D41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6184" y="6315150"/>
              <a:ext cx="2868344" cy="1164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RedSingleStroke4">
              <a:extLst>
                <a:ext uri="{FF2B5EF4-FFF2-40B4-BE49-F238E27FC236}">
                  <a16:creationId xmlns:a16="http://schemas.microsoft.com/office/drawing/2014/main" id="{64F74C63-7E4E-4D3A-A937-07EC8F7A3E19}"/>
                </a:ext>
              </a:extLst>
            </p:cNvPr>
            <p:cNvPicPr>
              <a:picLocks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4786260" y="3715100"/>
              <a:ext cx="5316535" cy="113820"/>
            </a:xfrm>
            <a:prstGeom prst="rect">
              <a:avLst/>
            </a:prstGeom>
          </p:spPr>
        </p:pic>
      </p:grpSp>
      <p:sp>
        <p:nvSpPr>
          <p:cNvPr id="31" name="Rechthoek 8">
            <a:extLst>
              <a:ext uri="{FF2B5EF4-FFF2-40B4-BE49-F238E27FC236}">
                <a16:creationId xmlns:a16="http://schemas.microsoft.com/office/drawing/2014/main" id="{6BB51CE8-79DA-4486-BBA1-B55A4A57A740}"/>
              </a:ext>
            </a:extLst>
          </p:cNvPr>
          <p:cNvSpPr/>
          <p:nvPr/>
        </p:nvSpPr>
        <p:spPr>
          <a:xfrm>
            <a:off x="10404262" y="6462343"/>
            <a:ext cx="995736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ope for today</a:t>
            </a:r>
          </a:p>
        </p:txBody>
      </p:sp>
    </p:spTree>
    <p:extLst>
      <p:ext uri="{BB962C8B-B14F-4D97-AF65-F5344CB8AC3E}">
        <p14:creationId xmlns:p14="http://schemas.microsoft.com/office/powerpoint/2010/main" val="33765494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CD790B-985C-4619-9993-E2816B3DFC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5CD790B-985C-4619-9993-E2816B3DFC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56B84B6-A396-F211-4AB3-67DF052205C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7503" y="1279498"/>
            <a:ext cx="2924271" cy="4704843"/>
          </a:xfr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6291046-44BF-4697-8C87-0D6ECBDB26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err="1"/>
              <a:t>When</a:t>
            </a:r>
            <a:r>
              <a:rPr lang="nl-NL"/>
              <a:t> a customer has </a:t>
            </a:r>
            <a:r>
              <a:rPr lang="nl-NL" err="1"/>
              <a:t>got</a:t>
            </a:r>
            <a:r>
              <a:rPr lang="nl-NL"/>
              <a:t> issues </a:t>
            </a:r>
            <a:r>
              <a:rPr lang="nl-NL" err="1"/>
              <a:t>according</a:t>
            </a:r>
            <a:r>
              <a:rPr lang="nl-NL"/>
              <a:t>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data we </a:t>
            </a:r>
            <a:r>
              <a:rPr lang="nl-NL" err="1"/>
              <a:t>will</a:t>
            </a:r>
            <a:r>
              <a:rPr lang="nl-NL"/>
              <a:t> </a:t>
            </a:r>
            <a:r>
              <a:rPr lang="nl-NL" err="1"/>
              <a:t>reach</a:t>
            </a:r>
            <a:r>
              <a:rPr lang="nl-NL"/>
              <a:t> out </a:t>
            </a:r>
            <a:r>
              <a:rPr lang="nl-NL" err="1"/>
              <a:t>to</a:t>
            </a:r>
            <a:r>
              <a:rPr lang="nl-NL"/>
              <a:t> help </a:t>
            </a:r>
            <a:r>
              <a:rPr lang="nl-NL" err="1"/>
              <a:t>them</a:t>
            </a:r>
            <a:r>
              <a:rPr lang="nl-NL"/>
              <a:t> </a:t>
            </a:r>
            <a:endParaRPr lang="en-US">
              <a:cs typeface="Arial"/>
            </a:endParaRPr>
          </a:p>
        </p:txBody>
      </p:sp>
      <p:pic>
        <p:nvPicPr>
          <p:cNvPr id="7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309132D-13AE-E2A1-5BA2-BE33CA0AC0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26329" y="1279498"/>
            <a:ext cx="3800404" cy="470484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727864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476180-FD3E-4196-9876-3EE4BA850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The basis of the Service scan is the Health check model which identifies root-causes of customer issues</a:t>
            </a:r>
            <a:endParaRPr lang="nl-NL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48AB0022-C49E-48AE-BEE0-8AC4803D1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05DA12-8F72-4D0B-8A38-0476296BBDA1}" type="slidenum">
              <a:rPr kumimoji="0" lang="nl-NL" sz="900" b="0" i="0" u="none" strike="noStrike" kern="1200" cap="none" spc="0" normalizeH="0" baseline="0" noProof="0" smtClean="0">
                <a:ln>
                  <a:noFill/>
                </a:ln>
                <a:solidFill>
                  <a:srgbClr val="575756">
                    <a:tint val="75000"/>
                  </a:srgbClr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575756">
                  <a:tint val="75000"/>
                </a:srgbClr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15" name="Afgeronde rechthoek 247">
            <a:extLst>
              <a:ext uri="{FF2B5EF4-FFF2-40B4-BE49-F238E27FC236}">
                <a16:creationId xmlns:a16="http://schemas.microsoft.com/office/drawing/2014/main" id="{8DDC2A47-4C10-AC41-9818-830CFD9EB116}"/>
              </a:ext>
            </a:extLst>
          </p:cNvPr>
          <p:cNvSpPr/>
          <p:nvPr/>
        </p:nvSpPr>
        <p:spPr>
          <a:xfrm>
            <a:off x="549583" y="2846152"/>
            <a:ext cx="3390013" cy="2473238"/>
          </a:xfrm>
          <a:prstGeom prst="roundRect">
            <a:avLst/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h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CB9A88-3D3C-D54E-B331-9C234F804070}"/>
              </a:ext>
            </a:extLst>
          </p:cNvPr>
          <p:cNvGrpSpPr/>
          <p:nvPr/>
        </p:nvGrpSpPr>
        <p:grpSpPr>
          <a:xfrm>
            <a:off x="3502492" y="2592602"/>
            <a:ext cx="601518" cy="635093"/>
            <a:chOff x="10903644" y="3153000"/>
            <a:chExt cx="309814" cy="31295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80440A5-34F1-6546-A0F2-D84C48CD136E}"/>
                </a:ext>
              </a:extLst>
            </p:cNvPr>
            <p:cNvSpPr/>
            <p:nvPr/>
          </p:nvSpPr>
          <p:spPr>
            <a:xfrm>
              <a:off x="10904783" y="3153000"/>
              <a:ext cx="308675" cy="308675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600" b="1" i="0" u="none" strike="noStrike" kern="1200" cap="none" spc="0" normalizeH="0" baseline="0" noProof="0" err="1">
                <a:ln>
                  <a:noFill/>
                </a:ln>
                <a:solidFill>
                  <a:srgbClr val="E6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65D4457-1CA5-DE44-B989-E92E14439B9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57158" y="3273803"/>
              <a:ext cx="149926" cy="136659"/>
            </a:xfrm>
            <a:prstGeom prst="rect">
              <a:avLst/>
            </a:prstGeom>
          </p:spPr>
        </p:pic>
        <p:sp>
          <p:nvSpPr>
            <p:cNvPr id="19" name="Ovaal 245">
              <a:extLst>
                <a:ext uri="{FF2B5EF4-FFF2-40B4-BE49-F238E27FC236}">
                  <a16:creationId xmlns:a16="http://schemas.microsoft.com/office/drawing/2014/main" id="{E89F86EB-8589-2641-A334-8EB6AF835B9C}"/>
                </a:ext>
              </a:extLst>
            </p:cNvPr>
            <p:cNvSpPr/>
            <p:nvPr/>
          </p:nvSpPr>
          <p:spPr>
            <a:xfrm flipH="1">
              <a:off x="10903644" y="3206878"/>
              <a:ext cx="259076" cy="259076"/>
            </a:xfrm>
            <a:prstGeom prst="ellipse">
              <a:avLst/>
            </a:prstGeom>
            <a:noFill/>
            <a:ln w="38100">
              <a:gradFill>
                <a:gsLst>
                  <a:gs pos="0">
                    <a:schemeClr val="accent2"/>
                  </a:gs>
                  <a:gs pos="100000">
                    <a:schemeClr val="accent1"/>
                  </a:gs>
                </a:gsLst>
                <a:lin ang="5400000" scaled="1"/>
              </a:gradFill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2002420"/>
                        <a:gd name="connsiteY0" fmla="*/ 1001210 h 2002420"/>
                        <a:gd name="connsiteX1" fmla="*/ 1001210 w 2002420"/>
                        <a:gd name="connsiteY1" fmla="*/ 0 h 2002420"/>
                        <a:gd name="connsiteX2" fmla="*/ 2002420 w 2002420"/>
                        <a:gd name="connsiteY2" fmla="*/ 1001210 h 2002420"/>
                        <a:gd name="connsiteX3" fmla="*/ 1001210 w 2002420"/>
                        <a:gd name="connsiteY3" fmla="*/ 2002420 h 2002420"/>
                        <a:gd name="connsiteX4" fmla="*/ 0 w 2002420"/>
                        <a:gd name="connsiteY4" fmla="*/ 1001210 h 200242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002420" h="2002420" extrusionOk="0">
                          <a:moveTo>
                            <a:pt x="0" y="1001210"/>
                          </a:moveTo>
                          <a:cubicBezTo>
                            <a:pt x="-46507" y="419571"/>
                            <a:pt x="354406" y="35224"/>
                            <a:pt x="1001210" y="0"/>
                          </a:cubicBezTo>
                          <a:cubicBezTo>
                            <a:pt x="1646349" y="19407"/>
                            <a:pt x="1940715" y="450219"/>
                            <a:pt x="2002420" y="1001210"/>
                          </a:cubicBezTo>
                          <a:cubicBezTo>
                            <a:pt x="1935807" y="1619214"/>
                            <a:pt x="1541244" y="2073829"/>
                            <a:pt x="1001210" y="2002420"/>
                          </a:cubicBezTo>
                          <a:cubicBezTo>
                            <a:pt x="399269" y="1975618"/>
                            <a:pt x="21574" y="1564471"/>
                            <a:pt x="0" y="1001210"/>
                          </a:cubicBezTo>
                          <a:close/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E16AFDA-7E74-4549-8E3A-1E5EC4F8BA86}"/>
              </a:ext>
            </a:extLst>
          </p:cNvPr>
          <p:cNvGrpSpPr/>
          <p:nvPr/>
        </p:nvGrpSpPr>
        <p:grpSpPr>
          <a:xfrm>
            <a:off x="850001" y="3796782"/>
            <a:ext cx="2901935" cy="1328596"/>
            <a:chOff x="919654" y="3610219"/>
            <a:chExt cx="2901935" cy="1328596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79FB8A4-6696-A141-8C34-3505673688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19654" y="3610219"/>
              <a:ext cx="2901935" cy="1328596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E83DE115-F590-464C-9485-A0D6A9B06E23}"/>
                </a:ext>
              </a:extLst>
            </p:cNvPr>
            <p:cNvSpPr/>
            <p:nvPr/>
          </p:nvSpPr>
          <p:spPr>
            <a:xfrm>
              <a:off x="1440526" y="3802603"/>
              <a:ext cx="516048" cy="839711"/>
            </a:xfrm>
            <a:prstGeom prst="rect">
              <a:avLst/>
            </a:prstGeom>
            <a:solidFill>
              <a:srgbClr val="ECE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473FB4D-2A18-8C4A-BA77-AE62FBEEA14B}"/>
                </a:ext>
              </a:extLst>
            </p:cNvPr>
            <p:cNvSpPr/>
            <p:nvPr/>
          </p:nvSpPr>
          <p:spPr>
            <a:xfrm>
              <a:off x="2658520" y="4096841"/>
              <a:ext cx="782826" cy="545473"/>
            </a:xfrm>
            <a:prstGeom prst="rect">
              <a:avLst/>
            </a:prstGeom>
            <a:solidFill>
              <a:srgbClr val="ECEE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8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5" name="Tekstvak 12">
            <a:extLst>
              <a:ext uri="{FF2B5EF4-FFF2-40B4-BE49-F238E27FC236}">
                <a16:creationId xmlns:a16="http://schemas.microsoft.com/office/drawing/2014/main" id="{0259321B-D32C-DF46-BD74-BFA3651FEC5D}"/>
              </a:ext>
            </a:extLst>
          </p:cNvPr>
          <p:cNvSpPr txBox="1"/>
          <p:nvPr/>
        </p:nvSpPr>
        <p:spPr>
          <a:xfrm>
            <a:off x="236440" y="2098260"/>
            <a:ext cx="414696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Is there a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gnal problem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the modem? </a:t>
            </a:r>
          </a:p>
        </p:txBody>
      </p:sp>
      <p:sp>
        <p:nvSpPr>
          <p:cNvPr id="26" name="Tekstvak 13">
            <a:extLst>
              <a:ext uri="{FF2B5EF4-FFF2-40B4-BE49-F238E27FC236}">
                <a16:creationId xmlns:a16="http://schemas.microsoft.com/office/drawing/2014/main" id="{3E3B104C-22F6-9848-932B-B1D15A1AF6B7}"/>
              </a:ext>
            </a:extLst>
          </p:cNvPr>
          <p:cNvSpPr txBox="1"/>
          <p:nvPr/>
        </p:nvSpPr>
        <p:spPr>
          <a:xfrm>
            <a:off x="5101739" y="2098260"/>
            <a:ext cx="280685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. Where is the issu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te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?</a:t>
            </a:r>
          </a:p>
        </p:txBody>
      </p:sp>
      <p:sp>
        <p:nvSpPr>
          <p:cNvPr id="33" name="Rechteraccolade 7">
            <a:extLst>
              <a:ext uri="{FF2B5EF4-FFF2-40B4-BE49-F238E27FC236}">
                <a16:creationId xmlns:a16="http://schemas.microsoft.com/office/drawing/2014/main" id="{7D043560-830D-8E4F-AB5B-FE50E729F4C6}"/>
              </a:ext>
            </a:extLst>
          </p:cNvPr>
          <p:cNvSpPr/>
          <p:nvPr/>
        </p:nvSpPr>
        <p:spPr>
          <a:xfrm rot="16200000" flipV="1">
            <a:off x="6391420" y="238380"/>
            <a:ext cx="246219" cy="4716310"/>
          </a:xfrm>
          <a:prstGeom prst="rightBrac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hteraccolade 7">
            <a:extLst>
              <a:ext uri="{FF2B5EF4-FFF2-40B4-BE49-F238E27FC236}">
                <a16:creationId xmlns:a16="http://schemas.microsoft.com/office/drawing/2014/main" id="{3B51497A-CC7D-EB4D-86D3-3CEF2DD46DA3}"/>
              </a:ext>
            </a:extLst>
          </p:cNvPr>
          <p:cNvSpPr/>
          <p:nvPr/>
        </p:nvSpPr>
        <p:spPr>
          <a:xfrm rot="16200000" flipV="1">
            <a:off x="2154187" y="770672"/>
            <a:ext cx="250356" cy="3649289"/>
          </a:xfrm>
          <a:prstGeom prst="rightBrac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Afgeronde rechthoek 247">
            <a:extLst>
              <a:ext uri="{FF2B5EF4-FFF2-40B4-BE49-F238E27FC236}">
                <a16:creationId xmlns:a16="http://schemas.microsoft.com/office/drawing/2014/main" id="{64694760-BC4B-F04B-8EDB-38F991958AEC}"/>
              </a:ext>
            </a:extLst>
          </p:cNvPr>
          <p:cNvSpPr/>
          <p:nvPr/>
        </p:nvSpPr>
        <p:spPr>
          <a:xfrm>
            <a:off x="4273951" y="2836713"/>
            <a:ext cx="1618475" cy="2473238"/>
          </a:xfrm>
          <a:prstGeom prst="round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up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Afgeronde rechthoek 247">
            <a:extLst>
              <a:ext uri="{FF2B5EF4-FFF2-40B4-BE49-F238E27FC236}">
                <a16:creationId xmlns:a16="http://schemas.microsoft.com/office/drawing/2014/main" id="{D2986128-D8D6-4748-A0C7-C8CFFCB9A940}"/>
              </a:ext>
            </a:extLst>
          </p:cNvPr>
          <p:cNvSpPr/>
          <p:nvPr/>
        </p:nvSpPr>
        <p:spPr>
          <a:xfrm>
            <a:off x="6007854" y="2822919"/>
            <a:ext cx="1403312" cy="2473238"/>
          </a:xfrm>
          <a:prstGeom prst="round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-Home Check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Afgeronde rechthoek 247">
            <a:extLst>
              <a:ext uri="{FF2B5EF4-FFF2-40B4-BE49-F238E27FC236}">
                <a16:creationId xmlns:a16="http://schemas.microsoft.com/office/drawing/2014/main" id="{EA0DFAC6-AF70-944C-802F-B6E8AC9A2F28}"/>
              </a:ext>
            </a:extLst>
          </p:cNvPr>
          <p:cNvSpPr/>
          <p:nvPr/>
        </p:nvSpPr>
        <p:spPr>
          <a:xfrm>
            <a:off x="4270090" y="2836713"/>
            <a:ext cx="1618475" cy="2473238"/>
          </a:xfrm>
          <a:prstGeom prst="roundRect">
            <a:avLst/>
          </a:prstGeom>
          <a:noFill/>
          <a:ln w="38100"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Afgeronde rechthoek 247">
            <a:extLst>
              <a:ext uri="{FF2B5EF4-FFF2-40B4-BE49-F238E27FC236}">
                <a16:creationId xmlns:a16="http://schemas.microsoft.com/office/drawing/2014/main" id="{D8122805-9D4E-2546-9301-D9B06C111E88}"/>
              </a:ext>
            </a:extLst>
          </p:cNvPr>
          <p:cNvSpPr/>
          <p:nvPr/>
        </p:nvSpPr>
        <p:spPr>
          <a:xfrm>
            <a:off x="4270090" y="2836713"/>
            <a:ext cx="1618475" cy="2473238"/>
          </a:xfrm>
          <a:prstGeom prst="roundRect">
            <a:avLst/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76821019-B649-4549-9044-AAE0091456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7404" y="2773845"/>
            <a:ext cx="291088" cy="27732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4" name="Ovaal 245">
            <a:extLst>
              <a:ext uri="{FF2B5EF4-FFF2-40B4-BE49-F238E27FC236}">
                <a16:creationId xmlns:a16="http://schemas.microsoft.com/office/drawing/2014/main" id="{E36123B3-1B8A-F542-8D1E-EF7778139F07}"/>
              </a:ext>
            </a:extLst>
          </p:cNvPr>
          <p:cNvSpPr/>
          <p:nvPr/>
        </p:nvSpPr>
        <p:spPr>
          <a:xfrm flipH="1">
            <a:off x="5533504" y="2638031"/>
            <a:ext cx="503008" cy="52575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02420"/>
                      <a:gd name="connsiteY0" fmla="*/ 1001210 h 2002420"/>
                      <a:gd name="connsiteX1" fmla="*/ 1001210 w 2002420"/>
                      <a:gd name="connsiteY1" fmla="*/ 0 h 2002420"/>
                      <a:gd name="connsiteX2" fmla="*/ 2002420 w 2002420"/>
                      <a:gd name="connsiteY2" fmla="*/ 1001210 h 2002420"/>
                      <a:gd name="connsiteX3" fmla="*/ 1001210 w 2002420"/>
                      <a:gd name="connsiteY3" fmla="*/ 2002420 h 2002420"/>
                      <a:gd name="connsiteX4" fmla="*/ 0 w 2002420"/>
                      <a:gd name="connsiteY4" fmla="*/ 1001210 h 200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02420" h="2002420" extrusionOk="0">
                        <a:moveTo>
                          <a:pt x="0" y="1001210"/>
                        </a:moveTo>
                        <a:cubicBezTo>
                          <a:pt x="-46507" y="419571"/>
                          <a:pt x="354406" y="35224"/>
                          <a:pt x="1001210" y="0"/>
                        </a:cubicBezTo>
                        <a:cubicBezTo>
                          <a:pt x="1646349" y="19407"/>
                          <a:pt x="1940715" y="450219"/>
                          <a:pt x="2002420" y="1001210"/>
                        </a:cubicBezTo>
                        <a:cubicBezTo>
                          <a:pt x="1935807" y="1619214"/>
                          <a:pt x="1541244" y="2073829"/>
                          <a:pt x="1001210" y="2002420"/>
                        </a:cubicBezTo>
                        <a:cubicBezTo>
                          <a:pt x="399269" y="1975618"/>
                          <a:pt x="21574" y="1564471"/>
                          <a:pt x="0" y="100121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D18ECD28-006F-2845-BEF1-16E6B38200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5124" y="2762244"/>
            <a:ext cx="291088" cy="277329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18ECD28-006F-2845-BEF1-16E6B38200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3594" y="2822919"/>
            <a:ext cx="291088" cy="277329"/>
          </a:xfrm>
          <a:prstGeom prst="rect">
            <a:avLst/>
          </a:prstGeom>
        </p:spPr>
      </p:pic>
      <p:sp>
        <p:nvSpPr>
          <p:cNvPr id="32" name="Afgeronde rechthoek 247">
            <a:extLst>
              <a:ext uri="{FF2B5EF4-FFF2-40B4-BE49-F238E27FC236}">
                <a16:creationId xmlns:a16="http://schemas.microsoft.com/office/drawing/2014/main" id="{BFCCD989-A5A9-BC4D-A6B3-0735F9491915}"/>
              </a:ext>
            </a:extLst>
          </p:cNvPr>
          <p:cNvSpPr/>
          <p:nvPr/>
        </p:nvSpPr>
        <p:spPr>
          <a:xfrm>
            <a:off x="9077157" y="2796297"/>
            <a:ext cx="2809991" cy="2473238"/>
          </a:xfrm>
          <a:prstGeom prst="round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otcause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tor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+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otcause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Afgeronde rechthoek 247">
            <a:extLst>
              <a:ext uri="{FF2B5EF4-FFF2-40B4-BE49-F238E27FC236}">
                <a16:creationId xmlns:a16="http://schemas.microsoft.com/office/drawing/2014/main" id="{D8BBE84F-793A-7C43-A5B0-BF13FF274FEB}"/>
              </a:ext>
            </a:extLst>
          </p:cNvPr>
          <p:cNvSpPr/>
          <p:nvPr/>
        </p:nvSpPr>
        <p:spPr>
          <a:xfrm>
            <a:off x="9066602" y="2805736"/>
            <a:ext cx="2820546" cy="2473238"/>
          </a:xfrm>
          <a:prstGeom prst="roundRect">
            <a:avLst/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Ovaal 245">
            <a:extLst>
              <a:ext uri="{FF2B5EF4-FFF2-40B4-BE49-F238E27FC236}">
                <a16:creationId xmlns:a16="http://schemas.microsoft.com/office/drawing/2014/main" id="{18929A03-37B6-614D-9266-F270693A90D3}"/>
              </a:ext>
            </a:extLst>
          </p:cNvPr>
          <p:cNvSpPr/>
          <p:nvPr/>
        </p:nvSpPr>
        <p:spPr>
          <a:xfrm flipH="1">
            <a:off x="11472097" y="2638422"/>
            <a:ext cx="503008" cy="52575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02420"/>
                      <a:gd name="connsiteY0" fmla="*/ 1001210 h 2002420"/>
                      <a:gd name="connsiteX1" fmla="*/ 1001210 w 2002420"/>
                      <a:gd name="connsiteY1" fmla="*/ 0 h 2002420"/>
                      <a:gd name="connsiteX2" fmla="*/ 2002420 w 2002420"/>
                      <a:gd name="connsiteY2" fmla="*/ 1001210 h 2002420"/>
                      <a:gd name="connsiteX3" fmla="*/ 1001210 w 2002420"/>
                      <a:gd name="connsiteY3" fmla="*/ 2002420 h 2002420"/>
                      <a:gd name="connsiteX4" fmla="*/ 0 w 2002420"/>
                      <a:gd name="connsiteY4" fmla="*/ 1001210 h 200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02420" h="2002420" extrusionOk="0">
                        <a:moveTo>
                          <a:pt x="0" y="1001210"/>
                        </a:moveTo>
                        <a:cubicBezTo>
                          <a:pt x="-46507" y="419571"/>
                          <a:pt x="354406" y="35224"/>
                          <a:pt x="1001210" y="0"/>
                        </a:cubicBezTo>
                        <a:cubicBezTo>
                          <a:pt x="1646349" y="19407"/>
                          <a:pt x="1940715" y="450219"/>
                          <a:pt x="2002420" y="1001210"/>
                        </a:cubicBezTo>
                        <a:cubicBezTo>
                          <a:pt x="1935807" y="1619214"/>
                          <a:pt x="1541244" y="2073829"/>
                          <a:pt x="1001210" y="2002420"/>
                        </a:cubicBezTo>
                        <a:cubicBezTo>
                          <a:pt x="399269" y="1975618"/>
                          <a:pt x="21574" y="1564471"/>
                          <a:pt x="0" y="100121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kstvak 13">
            <a:extLst>
              <a:ext uri="{FF2B5EF4-FFF2-40B4-BE49-F238E27FC236}">
                <a16:creationId xmlns:a16="http://schemas.microsoft.com/office/drawing/2014/main" id="{E160D8D6-495D-5F48-87D1-B77CC4A8216D}"/>
              </a:ext>
            </a:extLst>
          </p:cNvPr>
          <p:cNvSpPr txBox="1"/>
          <p:nvPr/>
        </p:nvSpPr>
        <p:spPr>
          <a:xfrm>
            <a:off x="9217473" y="1835743"/>
            <a:ext cx="229389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. What is the </a:t>
            </a:r>
            <a:r>
              <a:rPr kumimoji="0" lang="en-GB" sz="1600" b="1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otcause</a:t>
            </a:r>
            <a:endParaRPr kumimoji="0" lang="en-GB" sz="1600" b="1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 the problem?</a:t>
            </a:r>
          </a:p>
        </p:txBody>
      </p:sp>
      <p:sp>
        <p:nvSpPr>
          <p:cNvPr id="47" name="Rechteraccolade 7">
            <a:extLst>
              <a:ext uri="{FF2B5EF4-FFF2-40B4-BE49-F238E27FC236}">
                <a16:creationId xmlns:a16="http://schemas.microsoft.com/office/drawing/2014/main" id="{F17AC858-B485-F14E-AC20-2D1F301613F9}"/>
              </a:ext>
            </a:extLst>
          </p:cNvPr>
          <p:cNvSpPr/>
          <p:nvPr/>
        </p:nvSpPr>
        <p:spPr>
          <a:xfrm rot="16200000" flipV="1">
            <a:off x="10385446" y="1048372"/>
            <a:ext cx="270816" cy="2908502"/>
          </a:xfrm>
          <a:prstGeom prst="rightBrac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Afgeronde rechthoek 247">
            <a:extLst>
              <a:ext uri="{FF2B5EF4-FFF2-40B4-BE49-F238E27FC236}">
                <a16:creationId xmlns:a16="http://schemas.microsoft.com/office/drawing/2014/main" id="{B919FFE2-E9C0-EA4B-88FC-236F2376F28D}"/>
              </a:ext>
            </a:extLst>
          </p:cNvPr>
          <p:cNvSpPr/>
          <p:nvPr/>
        </p:nvSpPr>
        <p:spPr>
          <a:xfrm>
            <a:off x="7466006" y="2834650"/>
            <a:ext cx="1512639" cy="2473238"/>
          </a:xfrm>
          <a:prstGeom prst="roundRect">
            <a:avLst/>
          </a:prstGeom>
          <a:noFill/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op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ble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sues</a:t>
            </a:r>
            <a:b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te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Afgeronde rechthoek 247">
            <a:extLst>
              <a:ext uri="{FF2B5EF4-FFF2-40B4-BE49-F238E27FC236}">
                <a16:creationId xmlns:a16="http://schemas.microsoft.com/office/drawing/2014/main" id="{642B4004-B97D-F144-B72E-F1CBE3AC2A2F}"/>
              </a:ext>
            </a:extLst>
          </p:cNvPr>
          <p:cNvSpPr/>
          <p:nvPr/>
        </p:nvSpPr>
        <p:spPr>
          <a:xfrm>
            <a:off x="6015749" y="2805190"/>
            <a:ext cx="1395417" cy="2473238"/>
          </a:xfrm>
          <a:prstGeom prst="roundRect">
            <a:avLst/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Afgeronde rechthoek 247">
            <a:extLst>
              <a:ext uri="{FF2B5EF4-FFF2-40B4-BE49-F238E27FC236}">
                <a16:creationId xmlns:a16="http://schemas.microsoft.com/office/drawing/2014/main" id="{2A94E4D4-952C-604A-9C2E-A2639CBF86CF}"/>
              </a:ext>
            </a:extLst>
          </p:cNvPr>
          <p:cNvSpPr/>
          <p:nvPr/>
        </p:nvSpPr>
        <p:spPr>
          <a:xfrm>
            <a:off x="7462144" y="2846152"/>
            <a:ext cx="1522601" cy="2473238"/>
          </a:xfrm>
          <a:prstGeom prst="roundRect">
            <a:avLst/>
          </a:prstGeom>
          <a:noFill/>
          <a:ln w="38100"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Ovaal 245">
            <a:extLst>
              <a:ext uri="{FF2B5EF4-FFF2-40B4-BE49-F238E27FC236}">
                <a16:creationId xmlns:a16="http://schemas.microsoft.com/office/drawing/2014/main" id="{7CF1A2AC-4AD1-604F-9AA4-B449F7D70A88}"/>
              </a:ext>
            </a:extLst>
          </p:cNvPr>
          <p:cNvSpPr/>
          <p:nvPr/>
        </p:nvSpPr>
        <p:spPr>
          <a:xfrm flipH="1">
            <a:off x="8457634" y="2678838"/>
            <a:ext cx="503008" cy="52575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02420"/>
                      <a:gd name="connsiteY0" fmla="*/ 1001210 h 2002420"/>
                      <a:gd name="connsiteX1" fmla="*/ 1001210 w 2002420"/>
                      <a:gd name="connsiteY1" fmla="*/ 0 h 2002420"/>
                      <a:gd name="connsiteX2" fmla="*/ 2002420 w 2002420"/>
                      <a:gd name="connsiteY2" fmla="*/ 1001210 h 2002420"/>
                      <a:gd name="connsiteX3" fmla="*/ 1001210 w 2002420"/>
                      <a:gd name="connsiteY3" fmla="*/ 2002420 h 2002420"/>
                      <a:gd name="connsiteX4" fmla="*/ 0 w 2002420"/>
                      <a:gd name="connsiteY4" fmla="*/ 1001210 h 200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02420" h="2002420" extrusionOk="0">
                        <a:moveTo>
                          <a:pt x="0" y="1001210"/>
                        </a:moveTo>
                        <a:cubicBezTo>
                          <a:pt x="-46507" y="419571"/>
                          <a:pt x="354406" y="35224"/>
                          <a:pt x="1001210" y="0"/>
                        </a:cubicBezTo>
                        <a:cubicBezTo>
                          <a:pt x="1646349" y="19407"/>
                          <a:pt x="1940715" y="450219"/>
                          <a:pt x="2002420" y="1001210"/>
                        </a:cubicBezTo>
                        <a:cubicBezTo>
                          <a:pt x="1935807" y="1619214"/>
                          <a:pt x="1541244" y="2073829"/>
                          <a:pt x="1001210" y="2002420"/>
                        </a:cubicBezTo>
                        <a:cubicBezTo>
                          <a:pt x="399269" y="1975618"/>
                          <a:pt x="21574" y="1564471"/>
                          <a:pt x="0" y="100121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26A79B01-B077-CA4E-A9F5-DF261FB8186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75709" y="2819847"/>
            <a:ext cx="291088" cy="277329"/>
          </a:xfrm>
          <a:prstGeom prst="rect">
            <a:avLst/>
          </a:prstGeom>
        </p:spPr>
      </p:pic>
      <p:sp>
        <p:nvSpPr>
          <p:cNvPr id="51" name="Ovaal 245">
            <a:extLst>
              <a:ext uri="{FF2B5EF4-FFF2-40B4-BE49-F238E27FC236}">
                <a16:creationId xmlns:a16="http://schemas.microsoft.com/office/drawing/2014/main" id="{AC831F7F-9DB2-544E-AC96-5AE1D52265E6}"/>
              </a:ext>
            </a:extLst>
          </p:cNvPr>
          <p:cNvSpPr/>
          <p:nvPr/>
        </p:nvSpPr>
        <p:spPr>
          <a:xfrm flipH="1">
            <a:off x="6832328" y="2638478"/>
            <a:ext cx="503008" cy="525756"/>
          </a:xfrm>
          <a:prstGeom prst="ellipse">
            <a:avLst/>
          </a:prstGeom>
          <a:solidFill>
            <a:schemeClr val="bg1"/>
          </a:solidFill>
          <a:ln w="3810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5400000" scaled="1"/>
            </a:gradFill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0 w 2002420"/>
                      <a:gd name="connsiteY0" fmla="*/ 1001210 h 2002420"/>
                      <a:gd name="connsiteX1" fmla="*/ 1001210 w 2002420"/>
                      <a:gd name="connsiteY1" fmla="*/ 0 h 2002420"/>
                      <a:gd name="connsiteX2" fmla="*/ 2002420 w 2002420"/>
                      <a:gd name="connsiteY2" fmla="*/ 1001210 h 2002420"/>
                      <a:gd name="connsiteX3" fmla="*/ 1001210 w 2002420"/>
                      <a:gd name="connsiteY3" fmla="*/ 2002420 h 2002420"/>
                      <a:gd name="connsiteX4" fmla="*/ 0 w 2002420"/>
                      <a:gd name="connsiteY4" fmla="*/ 1001210 h 20024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002420" h="2002420" extrusionOk="0">
                        <a:moveTo>
                          <a:pt x="0" y="1001210"/>
                        </a:moveTo>
                        <a:cubicBezTo>
                          <a:pt x="-46507" y="419571"/>
                          <a:pt x="354406" y="35224"/>
                          <a:pt x="1001210" y="0"/>
                        </a:cubicBezTo>
                        <a:cubicBezTo>
                          <a:pt x="1646349" y="19407"/>
                          <a:pt x="1940715" y="450219"/>
                          <a:pt x="2002420" y="1001210"/>
                        </a:cubicBezTo>
                        <a:cubicBezTo>
                          <a:pt x="1935807" y="1619214"/>
                          <a:pt x="1541244" y="2073829"/>
                          <a:pt x="1001210" y="2002420"/>
                        </a:cubicBezTo>
                        <a:cubicBezTo>
                          <a:pt x="399269" y="1975618"/>
                          <a:pt x="21574" y="1564471"/>
                          <a:pt x="0" y="100121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1B8B9452-3B4D-804C-AD81-3D4734D3E8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0403" y="2779487"/>
            <a:ext cx="291088" cy="277329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D9EDBA46-5365-E548-B807-0FFA0C65A8E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64720" y="2786858"/>
            <a:ext cx="291088" cy="27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49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2B2E7BD7-B14A-4FFB-90E5-C65D4440CF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2B2E7BD7-B14A-4FFB-90E5-C65D4440C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F010504-022C-AD46-860C-1B0D31EDC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/>
              <a:t>Service Scan Flow &amp; insights</a:t>
            </a:r>
          </a:p>
        </p:txBody>
      </p:sp>
      <p:pic>
        <p:nvPicPr>
          <p:cNvPr id="25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A5AE08D3-EA64-9428-56A8-376197EFD9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388820" y="1656686"/>
            <a:ext cx="5671918" cy="3546158"/>
          </a:xfr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219A7177-2A29-7909-5CAF-8FF9DE1F701A}"/>
              </a:ext>
            </a:extLst>
          </p:cNvPr>
          <p:cNvSpPr/>
          <p:nvPr/>
        </p:nvSpPr>
        <p:spPr>
          <a:xfrm>
            <a:off x="6484542" y="4028876"/>
            <a:ext cx="3057769" cy="1472557"/>
          </a:xfrm>
          <a:prstGeom prst="ellipse">
            <a:avLst/>
          </a:prstGeom>
          <a:noFill/>
          <a:ln w="76200">
            <a:solidFill>
              <a:srgbClr val="FF0000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14370" y="1358097"/>
            <a:ext cx="5082807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alth check divided in Customer impact segment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2C79695-45EC-4225-984E-04BCE58B4544}"/>
              </a:ext>
            </a:extLst>
          </p:cNvPr>
          <p:cNvSpPr/>
          <p:nvPr/>
        </p:nvSpPr>
        <p:spPr>
          <a:xfrm>
            <a:off x="674113" y="1687811"/>
            <a:ext cx="5539280" cy="45184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Rounded Rectangle 4">
            <a:extLst>
              <a:ext uri="{FF2B5EF4-FFF2-40B4-BE49-F238E27FC236}">
                <a16:creationId xmlns:a16="http://schemas.microsoft.com/office/drawing/2014/main" id="{55D25014-62EC-4FD7-821C-61CF1D9FCCDE}"/>
              </a:ext>
            </a:extLst>
          </p:cNvPr>
          <p:cNvSpPr/>
          <p:nvPr/>
        </p:nvSpPr>
        <p:spPr>
          <a:xfrm>
            <a:off x="1023983" y="1761464"/>
            <a:ext cx="2925988" cy="553161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the customer having problems with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</a:t>
            </a: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ternet signal?</a:t>
            </a:r>
          </a:p>
        </p:txBody>
      </p:sp>
      <p:sp>
        <p:nvSpPr>
          <p:cNvPr id="45" name="Rounded Rectangle 7">
            <a:extLst>
              <a:ext uri="{FF2B5EF4-FFF2-40B4-BE49-F238E27FC236}">
                <a16:creationId xmlns:a16="http://schemas.microsoft.com/office/drawing/2014/main" id="{8D6ACB96-D632-46EC-925D-4EDB658CD265}"/>
              </a:ext>
            </a:extLst>
          </p:cNvPr>
          <p:cNvSpPr/>
          <p:nvPr/>
        </p:nvSpPr>
        <p:spPr>
          <a:xfrm>
            <a:off x="1023983" y="2710163"/>
            <a:ext cx="2925988" cy="553161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e the problems happening periodically over the last 10 days?</a:t>
            </a:r>
          </a:p>
        </p:txBody>
      </p:sp>
      <p:sp>
        <p:nvSpPr>
          <p:cNvPr id="46" name="Rounded Rectangle 8">
            <a:extLst>
              <a:ext uri="{FF2B5EF4-FFF2-40B4-BE49-F238E27FC236}">
                <a16:creationId xmlns:a16="http://schemas.microsoft.com/office/drawing/2014/main" id="{3B639277-AE17-4B37-B99A-EF605E386CD1}"/>
              </a:ext>
            </a:extLst>
          </p:cNvPr>
          <p:cNvSpPr/>
          <p:nvPr/>
        </p:nvSpPr>
        <p:spPr>
          <a:xfrm>
            <a:off x="1023983" y="3657442"/>
            <a:ext cx="2925988" cy="553161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e the problems strong enough to cause customer impact?</a:t>
            </a:r>
          </a:p>
        </p:txBody>
      </p:sp>
      <p:sp>
        <p:nvSpPr>
          <p:cNvPr id="47" name="Rounded Rectangle 10">
            <a:extLst>
              <a:ext uri="{FF2B5EF4-FFF2-40B4-BE49-F238E27FC236}">
                <a16:creationId xmlns:a16="http://schemas.microsoft.com/office/drawing/2014/main" id="{005666FB-5283-43C2-B42A-A358F4AC8D1D}"/>
              </a:ext>
            </a:extLst>
          </p:cNvPr>
          <p:cNvSpPr/>
          <p:nvPr/>
        </p:nvSpPr>
        <p:spPr>
          <a:xfrm>
            <a:off x="1023983" y="4657990"/>
            <a:ext cx="2925988" cy="553161"/>
          </a:xfrm>
          <a:prstGeom prst="roundRect">
            <a:avLst/>
          </a:prstGeom>
          <a:solidFill>
            <a:schemeClr val="bg1">
              <a:lumMod val="85000"/>
            </a:schemeClr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n the customer solve the problem himself?</a:t>
            </a:r>
          </a:p>
        </p:txBody>
      </p:sp>
      <p:sp>
        <p:nvSpPr>
          <p:cNvPr id="48" name="Rounded Rectangle 11">
            <a:extLst>
              <a:ext uri="{FF2B5EF4-FFF2-40B4-BE49-F238E27FC236}">
                <a16:creationId xmlns:a16="http://schemas.microsoft.com/office/drawing/2014/main" id="{9AC380FE-5D04-4825-A0BF-A936782A7E10}"/>
              </a:ext>
            </a:extLst>
          </p:cNvPr>
          <p:cNvSpPr/>
          <p:nvPr/>
        </p:nvSpPr>
        <p:spPr>
          <a:xfrm>
            <a:off x="1023983" y="5671266"/>
            <a:ext cx="1284232" cy="439188"/>
          </a:xfrm>
          <a:prstGeom prst="roundRect">
            <a:avLst/>
          </a:prstGeom>
          <a:solidFill>
            <a:schemeClr val="accent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w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fi Crew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Rounded Rectangle 12">
            <a:extLst>
              <a:ext uri="{FF2B5EF4-FFF2-40B4-BE49-F238E27FC236}">
                <a16:creationId xmlns:a16="http://schemas.microsoft.com/office/drawing/2014/main" id="{E103BD9D-3C17-4FFC-9AD9-034AB7CABD21}"/>
              </a:ext>
            </a:extLst>
          </p:cNvPr>
          <p:cNvSpPr/>
          <p:nvPr/>
        </p:nvSpPr>
        <p:spPr>
          <a:xfrm>
            <a:off x="2722920" y="5665954"/>
            <a:ext cx="1284232" cy="439188"/>
          </a:xfrm>
          <a:prstGeom prst="roundRect">
            <a:avLst/>
          </a:prstGeom>
          <a:solidFill>
            <a:schemeClr val="accent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f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rvice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ges</a:t>
            </a:r>
          </a:p>
        </p:txBody>
      </p:sp>
      <p:sp>
        <p:nvSpPr>
          <p:cNvPr id="50" name="Rounded Rectangle 13">
            <a:extLst>
              <a:ext uri="{FF2B5EF4-FFF2-40B4-BE49-F238E27FC236}">
                <a16:creationId xmlns:a16="http://schemas.microsoft.com/office/drawing/2014/main" id="{60FD34F5-54D3-44BA-BAD8-87AFECA24C03}"/>
              </a:ext>
            </a:extLst>
          </p:cNvPr>
          <p:cNvSpPr/>
          <p:nvPr/>
        </p:nvSpPr>
        <p:spPr>
          <a:xfrm>
            <a:off x="4436052" y="5665953"/>
            <a:ext cx="1284232" cy="439188"/>
          </a:xfrm>
          <a:prstGeom prst="roundRect">
            <a:avLst/>
          </a:prstGeom>
          <a:solidFill>
            <a:schemeClr val="accent1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l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w</a:t>
            </a: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ifi Crew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ight Arrow 14">
            <a:extLst>
              <a:ext uri="{FF2B5EF4-FFF2-40B4-BE49-F238E27FC236}">
                <a16:creationId xmlns:a16="http://schemas.microsoft.com/office/drawing/2014/main" id="{1DFC724A-24B1-40EA-A730-8184A5B4837F}"/>
              </a:ext>
            </a:extLst>
          </p:cNvPr>
          <p:cNvSpPr/>
          <p:nvPr/>
        </p:nvSpPr>
        <p:spPr>
          <a:xfrm rot="5400000">
            <a:off x="2198360" y="2235040"/>
            <a:ext cx="475049" cy="59084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Right Arrow 15">
            <a:extLst>
              <a:ext uri="{FF2B5EF4-FFF2-40B4-BE49-F238E27FC236}">
                <a16:creationId xmlns:a16="http://schemas.microsoft.com/office/drawing/2014/main" id="{6988D1D5-8066-4C2C-BDDD-FB327D39F58D}"/>
              </a:ext>
            </a:extLst>
          </p:cNvPr>
          <p:cNvSpPr/>
          <p:nvPr/>
        </p:nvSpPr>
        <p:spPr>
          <a:xfrm rot="5400000">
            <a:off x="2198360" y="3159173"/>
            <a:ext cx="475049" cy="59084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Right Arrow 16">
            <a:extLst>
              <a:ext uri="{FF2B5EF4-FFF2-40B4-BE49-F238E27FC236}">
                <a16:creationId xmlns:a16="http://schemas.microsoft.com/office/drawing/2014/main" id="{70784AFE-1EDD-4A83-8166-594C511AC2BC}"/>
              </a:ext>
            </a:extLst>
          </p:cNvPr>
          <p:cNvSpPr/>
          <p:nvPr/>
        </p:nvSpPr>
        <p:spPr>
          <a:xfrm rot="5400000">
            <a:off x="2198360" y="4152705"/>
            <a:ext cx="475049" cy="59084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Right Arrow 17">
            <a:extLst>
              <a:ext uri="{FF2B5EF4-FFF2-40B4-BE49-F238E27FC236}">
                <a16:creationId xmlns:a16="http://schemas.microsoft.com/office/drawing/2014/main" id="{25AACA35-7D24-40C1-9DD2-36684A4C188C}"/>
              </a:ext>
            </a:extLst>
          </p:cNvPr>
          <p:cNvSpPr/>
          <p:nvPr/>
        </p:nvSpPr>
        <p:spPr>
          <a:xfrm rot="5400000">
            <a:off x="1785611" y="5139836"/>
            <a:ext cx="553160" cy="53644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6B1335A-C1B7-4AAB-AA1D-BA3C17B719AC}"/>
              </a:ext>
            </a:extLst>
          </p:cNvPr>
          <p:cNvSpPr txBox="1"/>
          <p:nvPr/>
        </p:nvSpPr>
        <p:spPr>
          <a:xfrm>
            <a:off x="2193211" y="2389453"/>
            <a:ext cx="4882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CA19140-388D-418B-A764-702F75EAC756}"/>
              </a:ext>
            </a:extLst>
          </p:cNvPr>
          <p:cNvSpPr txBox="1"/>
          <p:nvPr/>
        </p:nvSpPr>
        <p:spPr>
          <a:xfrm>
            <a:off x="2193211" y="3277001"/>
            <a:ext cx="48828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396FFB9-84AC-477D-952B-56C322F1AC65}"/>
              </a:ext>
            </a:extLst>
          </p:cNvPr>
          <p:cNvSpPr txBox="1"/>
          <p:nvPr/>
        </p:nvSpPr>
        <p:spPr>
          <a:xfrm>
            <a:off x="2229251" y="4227249"/>
            <a:ext cx="4162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9B33190-C171-4CDD-A6CD-6DBA50459522}"/>
              </a:ext>
            </a:extLst>
          </p:cNvPr>
          <p:cNvSpPr txBox="1"/>
          <p:nvPr/>
        </p:nvSpPr>
        <p:spPr>
          <a:xfrm>
            <a:off x="1951308" y="5213434"/>
            <a:ext cx="1891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</a:t>
            </a:r>
          </a:p>
        </p:txBody>
      </p:sp>
      <p:pic>
        <p:nvPicPr>
          <p:cNvPr id="59" name="Graphic 58" descr="Add with solid fill">
            <a:extLst>
              <a:ext uri="{FF2B5EF4-FFF2-40B4-BE49-F238E27FC236}">
                <a16:creationId xmlns:a16="http://schemas.microsoft.com/office/drawing/2014/main" id="{A9482111-4759-4AB8-B19C-F274D8C3143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46775" y="5638830"/>
            <a:ext cx="349654" cy="349654"/>
          </a:xfrm>
          <a:prstGeom prst="rect">
            <a:avLst/>
          </a:prstGeom>
        </p:spPr>
      </p:pic>
      <p:sp>
        <p:nvSpPr>
          <p:cNvPr id="60" name="Right Arrow 17">
            <a:extLst>
              <a:ext uri="{FF2B5EF4-FFF2-40B4-BE49-F238E27FC236}">
                <a16:creationId xmlns:a16="http://schemas.microsoft.com/office/drawing/2014/main" id="{7882D5A6-09D9-412F-A8E8-50C9E6093CCF}"/>
              </a:ext>
            </a:extLst>
          </p:cNvPr>
          <p:cNvSpPr/>
          <p:nvPr/>
        </p:nvSpPr>
        <p:spPr>
          <a:xfrm rot="2841833">
            <a:off x="3200048" y="5148982"/>
            <a:ext cx="553160" cy="536445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AC12BBA-CF8A-4183-A7BE-C320D44F9AD6}"/>
              </a:ext>
            </a:extLst>
          </p:cNvPr>
          <p:cNvSpPr txBox="1"/>
          <p:nvPr/>
        </p:nvSpPr>
        <p:spPr>
          <a:xfrm rot="19041833">
            <a:off x="3322555" y="5272375"/>
            <a:ext cx="25487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es</a:t>
            </a:r>
          </a:p>
        </p:txBody>
      </p:sp>
      <p:sp>
        <p:nvSpPr>
          <p:cNvPr id="62" name="Right Arrow 17">
            <a:extLst>
              <a:ext uri="{FF2B5EF4-FFF2-40B4-BE49-F238E27FC236}">
                <a16:creationId xmlns:a16="http://schemas.microsoft.com/office/drawing/2014/main" id="{52FCE116-6E9B-4600-9FC5-E521C7BCFC52}"/>
              </a:ext>
            </a:extLst>
          </p:cNvPr>
          <p:cNvSpPr/>
          <p:nvPr/>
        </p:nvSpPr>
        <p:spPr>
          <a:xfrm>
            <a:off x="4046775" y="1687812"/>
            <a:ext cx="553160" cy="536445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9C9F08D-F1CE-49EC-AEEA-189EB0FA248C}"/>
              </a:ext>
            </a:extLst>
          </p:cNvPr>
          <p:cNvSpPr txBox="1"/>
          <p:nvPr/>
        </p:nvSpPr>
        <p:spPr>
          <a:xfrm rot="16200000">
            <a:off x="4200802" y="1852507"/>
            <a:ext cx="1891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</a:t>
            </a:r>
          </a:p>
        </p:txBody>
      </p:sp>
      <p:sp>
        <p:nvSpPr>
          <p:cNvPr id="64" name="Rounded Rectangle 13">
            <a:extLst>
              <a:ext uri="{FF2B5EF4-FFF2-40B4-BE49-F238E27FC236}">
                <a16:creationId xmlns:a16="http://schemas.microsoft.com/office/drawing/2014/main" id="{BE7FA3F3-6CE9-459B-846B-A17EAB657BA1}"/>
              </a:ext>
            </a:extLst>
          </p:cNvPr>
          <p:cNvSpPr/>
          <p:nvPr/>
        </p:nvSpPr>
        <p:spPr>
          <a:xfrm>
            <a:off x="4650222" y="1782231"/>
            <a:ext cx="1284232" cy="439188"/>
          </a:xfrm>
          <a:prstGeom prst="roundRect">
            <a:avLst/>
          </a:prstGeom>
          <a:solidFill>
            <a:schemeClr val="accent5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up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5" name="Right Arrow 17">
            <a:extLst>
              <a:ext uri="{FF2B5EF4-FFF2-40B4-BE49-F238E27FC236}">
                <a16:creationId xmlns:a16="http://schemas.microsoft.com/office/drawing/2014/main" id="{31737A9D-0A8E-4F3C-A72E-2E39A4268957}"/>
              </a:ext>
            </a:extLst>
          </p:cNvPr>
          <p:cNvSpPr/>
          <p:nvPr/>
        </p:nvSpPr>
        <p:spPr>
          <a:xfrm>
            <a:off x="4046775" y="2673412"/>
            <a:ext cx="553160" cy="536445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EF491DED-F12F-416E-8F66-F54A086FDD65}"/>
              </a:ext>
            </a:extLst>
          </p:cNvPr>
          <p:cNvSpPr txBox="1"/>
          <p:nvPr/>
        </p:nvSpPr>
        <p:spPr>
          <a:xfrm rot="16200000">
            <a:off x="4200802" y="2838107"/>
            <a:ext cx="1891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</a:t>
            </a:r>
          </a:p>
        </p:txBody>
      </p:sp>
      <p:sp>
        <p:nvSpPr>
          <p:cNvPr id="67" name="Rounded Rectangle 13">
            <a:extLst>
              <a:ext uri="{FF2B5EF4-FFF2-40B4-BE49-F238E27FC236}">
                <a16:creationId xmlns:a16="http://schemas.microsoft.com/office/drawing/2014/main" id="{56663DBF-C5A2-43BA-BD34-AA18115B71EE}"/>
              </a:ext>
            </a:extLst>
          </p:cNvPr>
          <p:cNvSpPr/>
          <p:nvPr/>
        </p:nvSpPr>
        <p:spPr>
          <a:xfrm>
            <a:off x="4650222" y="2767831"/>
            <a:ext cx="1284232" cy="439188"/>
          </a:xfrm>
          <a:prstGeom prst="roundRect">
            <a:avLst/>
          </a:prstGeom>
          <a:solidFill>
            <a:schemeClr val="accent5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up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Right Arrow 17">
            <a:extLst>
              <a:ext uri="{FF2B5EF4-FFF2-40B4-BE49-F238E27FC236}">
                <a16:creationId xmlns:a16="http://schemas.microsoft.com/office/drawing/2014/main" id="{C5EFDC9E-E029-4549-A848-8456DB5F876E}"/>
              </a:ext>
            </a:extLst>
          </p:cNvPr>
          <p:cNvSpPr/>
          <p:nvPr/>
        </p:nvSpPr>
        <p:spPr>
          <a:xfrm>
            <a:off x="4046775" y="3603603"/>
            <a:ext cx="553160" cy="536445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1EA5AEB-DF13-4AA6-8D54-20187263FBC7}"/>
              </a:ext>
            </a:extLst>
          </p:cNvPr>
          <p:cNvSpPr txBox="1"/>
          <p:nvPr/>
        </p:nvSpPr>
        <p:spPr>
          <a:xfrm rot="16200000">
            <a:off x="4200802" y="3768298"/>
            <a:ext cx="18915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</a:t>
            </a:r>
          </a:p>
        </p:txBody>
      </p:sp>
      <p:sp>
        <p:nvSpPr>
          <p:cNvPr id="70" name="Rounded Rectangle 13">
            <a:extLst>
              <a:ext uri="{FF2B5EF4-FFF2-40B4-BE49-F238E27FC236}">
                <a16:creationId xmlns:a16="http://schemas.microsoft.com/office/drawing/2014/main" id="{74821E56-6191-4D3C-8A25-E53844A3723C}"/>
              </a:ext>
            </a:extLst>
          </p:cNvPr>
          <p:cNvSpPr/>
          <p:nvPr/>
        </p:nvSpPr>
        <p:spPr>
          <a:xfrm>
            <a:off x="4650222" y="3698022"/>
            <a:ext cx="1284232" cy="439188"/>
          </a:xfrm>
          <a:prstGeom prst="roundRect">
            <a:avLst/>
          </a:prstGeom>
          <a:solidFill>
            <a:schemeClr val="accent5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een </a:t>
            </a:r>
            <a:r>
              <a:rPr kumimoji="0" lang="nl-NL" sz="12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oup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D9DBC13-1CD9-447D-89A4-C6327AD34625}"/>
              </a:ext>
            </a:extLst>
          </p:cNvPr>
          <p:cNvSpPr txBox="1"/>
          <p:nvPr/>
        </p:nvSpPr>
        <p:spPr>
          <a:xfrm>
            <a:off x="649538" y="1328143"/>
            <a:ext cx="5654179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bination of models to determine customer impact y/n</a:t>
            </a:r>
          </a:p>
        </p:txBody>
      </p:sp>
    </p:spTree>
    <p:extLst>
      <p:ext uri="{BB962C8B-B14F-4D97-AF65-F5344CB8AC3E}">
        <p14:creationId xmlns:p14="http://schemas.microsoft.com/office/powerpoint/2010/main" val="16277181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C018A-46BB-0A5F-F77B-C0138244E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NL"/>
              <a:t>Are you a Disney+</a:t>
            </a:r>
            <a:br>
              <a:rPr lang="en-NL"/>
            </a:br>
            <a:r>
              <a:rPr lang="en-NL"/>
              <a:t>look-a-like?</a:t>
            </a:r>
          </a:p>
        </p:txBody>
      </p:sp>
    </p:spTree>
    <p:extLst>
      <p:ext uri="{BB962C8B-B14F-4D97-AF65-F5344CB8AC3E}">
        <p14:creationId xmlns:p14="http://schemas.microsoft.com/office/powerpoint/2010/main" val="2955635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F09EFC-8191-F79F-56E5-4829C6EC4B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66041"/>
            <a:ext cx="5638800" cy="4347396"/>
          </a:xfrm>
        </p:spPr>
        <p:txBody>
          <a:bodyPr/>
          <a:lstStyle/>
          <a:p>
            <a:r>
              <a:rPr lang="en-GB">
                <a:solidFill>
                  <a:srgbClr val="404040"/>
                </a:solidFill>
                <a:latin typeface="Arial" panose="020B0604020202020204" pitchFamily="34" charset="0"/>
              </a:rPr>
              <a:t>Extensive selection process involving and supported by:</a:t>
            </a:r>
          </a:p>
          <a:p>
            <a:pPr marL="457196" lvl="1" indent="-285750"/>
            <a:r>
              <a:rPr lang="en-GB" b="0" i="0" u="none" strike="noStrike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The Analyst Community of Practice</a:t>
            </a:r>
          </a:p>
          <a:p>
            <a:pPr marL="457196" lvl="1" indent="-285750"/>
            <a:r>
              <a:rPr lang="en-GB" b="0" i="0" u="none" strike="noStrike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IT</a:t>
            </a:r>
          </a:p>
          <a:p>
            <a:pPr marL="457196" lvl="1" indent="-285750"/>
            <a:r>
              <a:rPr lang="en-GB">
                <a:solidFill>
                  <a:srgbClr val="404040"/>
                </a:solidFill>
                <a:latin typeface="Arial" panose="020B0604020202020204" pitchFamily="34" charset="0"/>
              </a:rPr>
              <a:t>L</a:t>
            </a:r>
            <a:r>
              <a:rPr lang="en-GB" b="0" i="0" u="none" strike="noStrike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egal</a:t>
            </a:r>
          </a:p>
          <a:p>
            <a:pPr marL="457196" lvl="1" indent="-285750"/>
            <a:r>
              <a:rPr lang="en-GB">
                <a:solidFill>
                  <a:srgbClr val="404040"/>
                </a:solidFill>
                <a:latin typeface="Arial" panose="020B0604020202020204" pitchFamily="34" charset="0"/>
              </a:rPr>
              <a:t>P</a:t>
            </a:r>
            <a:r>
              <a:rPr lang="en-GB" b="0" i="0" u="none" strike="noStrike">
                <a:solidFill>
                  <a:srgbClr val="404040"/>
                </a:solidFill>
                <a:effectLst/>
                <a:latin typeface="Arial" panose="020B0604020202020204" pitchFamily="34" charset="0"/>
              </a:rPr>
              <a:t>rocurement</a:t>
            </a:r>
          </a:p>
          <a:p>
            <a:endParaRPr lang="en-NL"/>
          </a:p>
          <a:p>
            <a:endParaRPr lang="en-NL"/>
          </a:p>
          <a:p>
            <a:r>
              <a:rPr lang="en-NL"/>
              <a:t>Enables analysts to </a:t>
            </a:r>
            <a:r>
              <a:rPr lang="en-NL" b="1"/>
              <a:t>create predictive models and insights without the need for any code</a:t>
            </a:r>
            <a:r>
              <a:rPr lang="en-NL"/>
              <a:t>.</a:t>
            </a:r>
          </a:p>
          <a:p>
            <a:endParaRPr lang="en-NL"/>
          </a:p>
          <a:p>
            <a:r>
              <a:rPr lang="en-NL"/>
              <a:t>We are scaling as we speak:</a:t>
            </a:r>
          </a:p>
          <a:p>
            <a:pPr marL="457196" lvl="1" indent="-285750"/>
            <a:r>
              <a:rPr lang="en-NL"/>
              <a:t>Identifying use cases</a:t>
            </a:r>
          </a:p>
          <a:p>
            <a:pPr marL="457196" lvl="1" indent="-285750"/>
            <a:r>
              <a:rPr lang="en-NL"/>
              <a:t>Training analysts</a:t>
            </a:r>
          </a:p>
          <a:p>
            <a:pPr marL="457196" lvl="1" indent="-285750"/>
            <a:r>
              <a:rPr lang="en-NL"/>
              <a:t>AI Specialist guidance and assistance</a:t>
            </a:r>
          </a:p>
          <a:p>
            <a:pPr marL="457196" lvl="1" indent="-285750"/>
            <a:r>
              <a:rPr lang="en-GB"/>
              <a:t>Setting up d</a:t>
            </a:r>
            <a:r>
              <a:rPr lang="en-NL"/>
              <a:t>ata connectivity and governance</a:t>
            </a:r>
          </a:p>
          <a:p>
            <a:endParaRPr lang="en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B4B436-80B4-4A72-8960-3284CFA51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DataRobot</a:t>
            </a:r>
            <a:r>
              <a:rPr lang="nl-NL"/>
              <a:t> is </a:t>
            </a:r>
            <a:r>
              <a:rPr lang="nl-NL" err="1"/>
              <a:t>an</a:t>
            </a:r>
            <a:r>
              <a:rPr lang="nl-NL"/>
              <a:t> </a:t>
            </a:r>
            <a:r>
              <a:rPr lang="nl-NL" err="1"/>
              <a:t>automated</a:t>
            </a:r>
            <a:r>
              <a:rPr lang="nl-NL"/>
              <a:t> machine </a:t>
            </a:r>
            <a:r>
              <a:rPr lang="nl-NL" err="1"/>
              <a:t>learning</a:t>
            </a:r>
            <a:r>
              <a:rPr lang="nl-NL"/>
              <a:t> </a:t>
            </a:r>
            <a:r>
              <a:rPr lang="nl-NL" err="1"/>
              <a:t>capability</a:t>
            </a:r>
            <a:r>
              <a:rPr lang="nl-NL"/>
              <a:t> </a:t>
            </a:r>
            <a:r>
              <a:rPr lang="nl-NL" err="1"/>
              <a:t>that</a:t>
            </a:r>
            <a:r>
              <a:rPr lang="nl-NL"/>
              <a:t> </a:t>
            </a:r>
            <a:r>
              <a:rPr lang="nl-NL" err="1"/>
              <a:t>will</a:t>
            </a:r>
            <a:r>
              <a:rPr lang="nl-NL"/>
              <a:t> help </a:t>
            </a:r>
            <a:r>
              <a:rPr lang="nl-NL" err="1"/>
              <a:t>us</a:t>
            </a:r>
            <a:r>
              <a:rPr lang="nl-NL"/>
              <a:t> </a:t>
            </a:r>
            <a:r>
              <a:rPr lang="nl-NL" err="1"/>
              <a:t>enable</a:t>
            </a:r>
            <a:r>
              <a:rPr lang="nl-NL"/>
              <a:t> </a:t>
            </a:r>
            <a:r>
              <a:rPr lang="nl-NL" err="1"/>
              <a:t>the</a:t>
            </a:r>
            <a:r>
              <a:rPr lang="nl-NL"/>
              <a:t> business user and </a:t>
            </a:r>
            <a:r>
              <a:rPr lang="nl-NL" err="1"/>
              <a:t>scale</a:t>
            </a:r>
            <a:r>
              <a:rPr lang="nl-NL"/>
              <a:t> AI.</a:t>
            </a:r>
          </a:p>
        </p:txBody>
      </p:sp>
      <p:pic>
        <p:nvPicPr>
          <p:cNvPr id="1026" name="Picture 2" descr="More layoffs at DataRobot | LinkedIn">
            <a:extLst>
              <a:ext uri="{FF2B5EF4-FFF2-40B4-BE49-F238E27FC236}">
                <a16:creationId xmlns:a16="http://schemas.microsoft.com/office/drawing/2014/main" id="{2E2D580C-15D1-B31F-A7C9-1ED74ED95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4800" y="1790289"/>
            <a:ext cx="5080000" cy="3898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22688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898623-B1C3-5A00-ACE1-FC86FFC24C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67584"/>
            <a:ext cx="6146084" cy="3480459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>
                <a:cs typeface="Arial"/>
              </a:rPr>
              <a:t>By driving customers to use the Disney+ app on our </a:t>
            </a:r>
            <a:r>
              <a:rPr lang="en-US" err="1">
                <a:cs typeface="Arial"/>
              </a:rPr>
              <a:t>mediabox</a:t>
            </a:r>
            <a:r>
              <a:rPr lang="en-US">
                <a:cs typeface="Arial"/>
              </a:rPr>
              <a:t>, we can learn more about our customers’ entertainment interest and give better and more personal recommendations.</a:t>
            </a: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  <a:p>
            <a:r>
              <a:rPr lang="en-US">
                <a:cs typeface="Arial"/>
              </a:rPr>
              <a:t>The base for our predictive model: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cs typeface="Arial"/>
              </a:rPr>
              <a:t>10.000 customers: 50%-50% split (no) Disney+.</a:t>
            </a:r>
          </a:p>
          <a:p>
            <a:pPr marL="285750" indent="-285750">
              <a:buFont typeface="Arial"/>
              <a:buChar char="•"/>
            </a:pPr>
            <a:r>
              <a:rPr lang="en-US">
                <a:cs typeface="Arial"/>
              </a:rPr>
              <a:t>6 months of viewing behavior (before Disney+ introduction)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Other OTT-apps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Linear TV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Radio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Genres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Socio demographics</a:t>
            </a:r>
          </a:p>
          <a:p>
            <a:pPr marL="652463" lvl="2" indent="-285750">
              <a:buFont typeface="Arial"/>
              <a:buChar char="•"/>
            </a:pPr>
            <a:r>
              <a:rPr lang="en-US">
                <a:cs typeface="Arial"/>
              </a:rPr>
              <a:t>Customer details</a:t>
            </a:r>
            <a:endParaRPr lang="en-US"/>
          </a:p>
          <a:p>
            <a:pPr marL="285750" indent="-285750">
              <a:buFont typeface="Arial"/>
              <a:buChar char="•"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C0A1E84-8679-0EEC-4A2A-64438D0C4C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As part of our Endless Entertainment program we want to drive customer loyalty through (on-screen) entertainment aggregation</a:t>
            </a:r>
          </a:p>
        </p:txBody>
      </p:sp>
      <p:pic>
        <p:nvPicPr>
          <p:cNvPr id="4" name="Picture 4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90C92889-3029-FC49-ECBE-075BC1AD91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5638" y="1552897"/>
            <a:ext cx="4799162" cy="346525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CF0F920-487E-11C2-7B72-F570E9F35A96}"/>
              </a:ext>
            </a:extLst>
          </p:cNvPr>
          <p:cNvSpPr txBox="1"/>
          <p:nvPr/>
        </p:nvSpPr>
        <p:spPr>
          <a:xfrm>
            <a:off x="452463" y="5422736"/>
            <a:ext cx="11267205" cy="402672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an we predict whether someone will be watching Disney+ on our </a:t>
            </a:r>
            <a:r>
              <a:rPr kumimoji="0" lang="en-US" sz="1800" b="0" i="1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ediabox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188043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85DDBF9-B3A4-FC33-1E4E-61926DB941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2477" y="531042"/>
            <a:ext cx="6847046" cy="2172458"/>
          </a:xfrm>
          <a:prstGeom prst="rect">
            <a:avLst/>
          </a:prstGeom>
        </p:spPr>
      </p:pic>
      <p:pic>
        <p:nvPicPr>
          <p:cNvPr id="3074" name="Picture 2" descr="An image made with DALL·E 2 using the prompt &quot;an impressionist oil painting of a Canadian man riding a moose through a forest of maple trees&quot;">
            <a:extLst>
              <a:ext uri="{FF2B5EF4-FFF2-40B4-BE49-F238E27FC236}">
                <a16:creationId xmlns:a16="http://schemas.microsoft.com/office/drawing/2014/main" id="{6305DA96-116A-A1C8-BC19-06A8846A33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3850" y="3130498"/>
            <a:ext cx="9004300" cy="2263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2795598-1CF8-9F91-C317-43F47AB7560E}"/>
              </a:ext>
            </a:extLst>
          </p:cNvPr>
          <p:cNvSpPr txBox="1"/>
          <p:nvPr/>
        </p:nvSpPr>
        <p:spPr>
          <a:xfrm>
            <a:off x="2241550" y="5394470"/>
            <a:ext cx="77089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0" i="0">
                <a:solidFill>
                  <a:srgbClr val="424242"/>
                </a:solidFill>
                <a:effectLst/>
                <a:latin typeface="Inter"/>
              </a:rPr>
              <a:t>"an impressionist oil painting of a Canadian man riding a moose through a forest of maple trees"</a:t>
            </a:r>
            <a:endParaRPr lang="nl-NL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B965211-AC9F-4524-4221-D5F4FD159E78}"/>
              </a:ext>
            </a:extLst>
          </p:cNvPr>
          <p:cNvSpPr/>
          <p:nvPr/>
        </p:nvSpPr>
        <p:spPr>
          <a:xfrm>
            <a:off x="8610600" y="5671469"/>
            <a:ext cx="3640667" cy="6758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r>
              <a:rPr lang="nl-NL" sz="900">
                <a:solidFill>
                  <a:schemeClr val="tx1"/>
                </a:solidFill>
              </a:rPr>
              <a:t>Top (</a:t>
            </a:r>
            <a:r>
              <a:rPr lang="nl-NL" sz="900" err="1">
                <a:solidFill>
                  <a:schemeClr val="tx1"/>
                </a:solidFill>
              </a:rPr>
              <a:t>ChatGPT</a:t>
            </a:r>
            <a:r>
              <a:rPr lang="nl-NL" sz="900">
                <a:solidFill>
                  <a:schemeClr val="tx1"/>
                </a:solidFill>
              </a:rPr>
              <a:t>): </a:t>
            </a:r>
            <a:r>
              <a:rPr lang="nl-NL" sz="900">
                <a:solidFill>
                  <a:schemeClr val="tx1"/>
                </a:solidFill>
                <a:hlinkClick r:id="rId5"/>
              </a:rPr>
              <a:t>https://chat.openai.com</a:t>
            </a:r>
            <a:endParaRPr lang="nl-NL" sz="900">
              <a:solidFill>
                <a:schemeClr val="tx1"/>
              </a:solidFill>
            </a:endParaRPr>
          </a:p>
          <a:p>
            <a:pPr algn="r"/>
            <a:r>
              <a:rPr lang="nl-NL" sz="900">
                <a:solidFill>
                  <a:schemeClr val="tx1"/>
                </a:solidFill>
              </a:rPr>
              <a:t>Bottom (DALL-E 2): </a:t>
            </a:r>
            <a:r>
              <a:rPr lang="en-US" sz="900">
                <a:hlinkClick r:id="rId6"/>
              </a:rPr>
              <a:t>The best AI image generators in 2023 | Zapier</a:t>
            </a:r>
            <a:endParaRPr lang="nl-NL" sz="9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54477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67CE8571-C044-3A22-9E70-7B4C0D5F2D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1645666"/>
            <a:ext cx="6528957" cy="2252104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95EA044-A03B-FDA6-E8C2-6F2C2A366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We were able to kickstart this project by using </a:t>
            </a:r>
            <a:r>
              <a:rPr lang="en-US" err="1">
                <a:cs typeface="Arial"/>
              </a:rPr>
              <a:t>DataRobot</a:t>
            </a:r>
            <a:r>
              <a:rPr lang="en-US">
                <a:cs typeface="Arial"/>
              </a:rPr>
              <a:t> as a tool for our initial model(s) and get to the core of what is relevant.</a:t>
            </a:r>
            <a:endParaRPr lang="en-US"/>
          </a:p>
        </p:txBody>
      </p:sp>
      <p:pic>
        <p:nvPicPr>
          <p:cNvPr id="6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10B42549-5BD1-687D-0E00-37638483B9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3935" y="1645666"/>
            <a:ext cx="4630865" cy="22521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EE2E0D-DF60-468A-872C-E5A2DA5F26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" y="4025325"/>
            <a:ext cx="11277600" cy="1456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8422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67CE8571-C044-3A22-9E70-7B4C0D5F2D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645666"/>
            <a:ext cx="11239457" cy="3876948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95EA044-A03B-FDA6-E8C2-6F2C2A366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The usage of other OTT-apps proves to have a good predictive value when it comes to identifying (potential) Disney+ users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03468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5EA044-A03B-FDA6-E8C2-6F2C2A366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There is a clear relation between customer age and the likelihood of Disney+ usage, peaking for those between 30-55 years. </a:t>
            </a:r>
            <a:endParaRPr lang="en-US"/>
          </a:p>
        </p:txBody>
      </p:sp>
      <p:pic>
        <p:nvPicPr>
          <p:cNvPr id="8" name="Picture 6" descr="Chart, line chart&#10;&#10;Description automatically generated">
            <a:extLst>
              <a:ext uri="{FF2B5EF4-FFF2-40B4-BE49-F238E27FC236}">
                <a16:creationId xmlns:a16="http://schemas.microsoft.com/office/drawing/2014/main" id="{07788575-8E89-4AC2-8764-F4E51B0801D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21153" y="1268413"/>
            <a:ext cx="9551281" cy="464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3890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95EA044-A03B-FDA6-E8C2-6F2C2A366C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We can experiment with different communications, to make sure they are in line with customers’ personal interest.</a:t>
            </a:r>
            <a:endParaRPr lang="en-US"/>
          </a:p>
        </p:txBody>
      </p:sp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BD3F5188-FE39-44A5-93FB-3BDCF7EFB18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57200" y="1660021"/>
            <a:ext cx="11279188" cy="188108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FDD3964-2385-4FFD-987E-3EEC6C29F3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612" y="4089118"/>
            <a:ext cx="11277600" cy="1911458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520A20E-5211-4ED7-B964-89BE1D123C76}"/>
              </a:ext>
            </a:extLst>
          </p:cNvPr>
          <p:cNvSpPr txBox="1"/>
          <p:nvPr/>
        </p:nvSpPr>
        <p:spPr>
          <a:xfrm>
            <a:off x="455612" y="1368548"/>
            <a:ext cx="32139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2316F0-D1CF-400D-93EB-2665B473F09B}"/>
              </a:ext>
            </a:extLst>
          </p:cNvPr>
          <p:cNvSpPr txBox="1"/>
          <p:nvPr/>
        </p:nvSpPr>
        <p:spPr>
          <a:xfrm>
            <a:off x="455612" y="3803653"/>
            <a:ext cx="321398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B</a:t>
            </a:r>
          </a:p>
        </p:txBody>
      </p:sp>
    </p:spTree>
    <p:extLst>
      <p:ext uri="{BB962C8B-B14F-4D97-AF65-F5344CB8AC3E}">
        <p14:creationId xmlns:p14="http://schemas.microsoft.com/office/powerpoint/2010/main" val="17582487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4B77B-E830-42F5-D449-D26A70EB5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Let’s</a:t>
            </a:r>
            <a:r>
              <a:rPr lang="nl-NL" dirty="0"/>
              <a:t> talk</a:t>
            </a:r>
          </a:p>
        </p:txBody>
      </p:sp>
    </p:spTree>
    <p:extLst>
      <p:ext uri="{BB962C8B-B14F-4D97-AF65-F5344CB8AC3E}">
        <p14:creationId xmlns:p14="http://schemas.microsoft.com/office/powerpoint/2010/main" val="6627763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633819D-EFDB-9753-4056-0E665DCC83C5}"/>
              </a:ext>
            </a:extLst>
          </p:cNvPr>
          <p:cNvSpPr txBox="1"/>
          <p:nvPr/>
        </p:nvSpPr>
        <p:spPr>
          <a:xfrm>
            <a:off x="1233454" y="3152001"/>
            <a:ext cx="5123179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nl-NL" sz="2400" dirty="0"/>
              <a:t>AI is de sleutel tot ongeëvenaarde efficiëntie in elk bedrijfsproces.</a:t>
            </a:r>
            <a:endParaRPr lang="en-US"/>
          </a:p>
        </p:txBody>
      </p:sp>
      <p:pic>
        <p:nvPicPr>
          <p:cNvPr id="5" name="Picture 4" descr="Clouds in the sky with clouds&#10;&#10;Description automatically generated">
            <a:extLst>
              <a:ext uri="{FF2B5EF4-FFF2-40B4-BE49-F238E27FC236}">
                <a16:creationId xmlns:a16="http://schemas.microsoft.com/office/drawing/2014/main" id="{279E1DF4-3D0D-2233-B151-C6E62F3FF25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224" y="1191857"/>
            <a:ext cx="4168806" cy="4168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504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5DD283C-F622-4393-B175-3AB98D946974}"/>
              </a:ext>
            </a:extLst>
          </p:cNvPr>
          <p:cNvSpPr txBox="1"/>
          <p:nvPr/>
        </p:nvSpPr>
        <p:spPr>
          <a:xfrm>
            <a:off x="2095130" y="1606858"/>
            <a:ext cx="74927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dirty="0"/>
              <a:t>Voor 20% van mijn medewerkers gaat de Data en AI transitie te snel</a:t>
            </a:r>
          </a:p>
        </p:txBody>
      </p:sp>
      <p:pic>
        <p:nvPicPr>
          <p:cNvPr id="4" name="Picture 3" descr="A person running with luggage on train&#10;&#10;Description automatically generated">
            <a:extLst>
              <a:ext uri="{FF2B5EF4-FFF2-40B4-BE49-F238E27FC236}">
                <a16:creationId xmlns:a16="http://schemas.microsoft.com/office/drawing/2014/main" id="{739B74E3-B412-B283-F4C9-718623C68A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4750" y="2433637"/>
            <a:ext cx="4762500" cy="1990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06082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5D8D31-66CB-BC29-99D1-216277BD558D}"/>
              </a:ext>
            </a:extLst>
          </p:cNvPr>
          <p:cNvSpPr txBox="1"/>
          <p:nvPr/>
        </p:nvSpPr>
        <p:spPr>
          <a:xfrm>
            <a:off x="1061858" y="1387402"/>
            <a:ext cx="749275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400" dirty="0"/>
              <a:t>Datakwaliteit is bij ons een groot probleem en dit staat ontwikkeling met AI in de weg</a:t>
            </a:r>
          </a:p>
        </p:txBody>
      </p:sp>
      <p:pic>
        <p:nvPicPr>
          <p:cNvPr id="4" name="Picture 3" descr="A road with yellow lines">
            <a:extLst>
              <a:ext uri="{FF2B5EF4-FFF2-40B4-BE49-F238E27FC236}">
                <a16:creationId xmlns:a16="http://schemas.microsoft.com/office/drawing/2014/main" id="{0ACB22C8-1DAB-5C13-3A44-CEBD66DD827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210" y="2260749"/>
            <a:ext cx="5088918" cy="338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6790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5D8D31-66CB-BC29-99D1-216277BD558D}"/>
              </a:ext>
            </a:extLst>
          </p:cNvPr>
          <p:cNvSpPr txBox="1"/>
          <p:nvPr/>
        </p:nvSpPr>
        <p:spPr>
          <a:xfrm>
            <a:off x="1061858" y="1387402"/>
            <a:ext cx="7492753" cy="73866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nl-NL" sz="2400" dirty="0">
                <a:solidFill>
                  <a:srgbClr val="121212"/>
                </a:solidFill>
                <a:ea typeface="+mn-lt"/>
                <a:cs typeface="+mn-lt"/>
              </a:rPr>
              <a:t>Bedrijven die AI niet omarmen, zullen binnen een decennium irrelevant worden</a:t>
            </a:r>
            <a:endParaRPr lang="en-US" dirty="0"/>
          </a:p>
        </p:txBody>
      </p:sp>
      <p:pic>
        <p:nvPicPr>
          <p:cNvPr id="3" name="Picture 2" descr="Hoe herken je een faillissement in een vroeg stadium?">
            <a:extLst>
              <a:ext uri="{FF2B5EF4-FFF2-40B4-BE49-F238E27FC236}">
                <a16:creationId xmlns:a16="http://schemas.microsoft.com/office/drawing/2014/main" id="{92FC62EF-9229-6B58-E1DF-5BBB8D006B8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8937" y="1925975"/>
            <a:ext cx="6131790" cy="409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649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D5AB8C-47D2-22BE-8CA1-0E8AF96F8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77800" algn="l"/>
              </a:tabLst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2 VodafoneZiggo Confidential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565E401-63B8-6F43-62C2-DFA4524A10E6}"/>
              </a:ext>
            </a:extLst>
          </p:cNvPr>
          <p:cNvSpPr/>
          <p:nvPr/>
        </p:nvSpPr>
        <p:spPr>
          <a:xfrm>
            <a:off x="3256156" y="360206"/>
            <a:ext cx="5550737" cy="565563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1784092-4600-BF1B-B465-9C81E7A1C15F}"/>
              </a:ext>
            </a:extLst>
          </p:cNvPr>
          <p:cNvSpPr/>
          <p:nvPr/>
        </p:nvSpPr>
        <p:spPr>
          <a:xfrm>
            <a:off x="4020943" y="1918010"/>
            <a:ext cx="4150113" cy="409783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FB3FE52-B9AA-5E48-CC96-7BF4547899D1}"/>
              </a:ext>
            </a:extLst>
          </p:cNvPr>
          <p:cNvSpPr/>
          <p:nvPr/>
        </p:nvSpPr>
        <p:spPr>
          <a:xfrm>
            <a:off x="4631008" y="3200401"/>
            <a:ext cx="2929984" cy="281544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721D40-EFDA-E65A-C92B-D77DE344D0CA}"/>
              </a:ext>
            </a:extLst>
          </p:cNvPr>
          <p:cNvSpPr txBox="1"/>
          <p:nvPr/>
        </p:nvSpPr>
        <p:spPr>
          <a:xfrm>
            <a:off x="4967485" y="776979"/>
            <a:ext cx="22570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tificial Intellig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0DB777-B3AC-87DD-B59C-40C2A1FC1434}"/>
              </a:ext>
            </a:extLst>
          </p:cNvPr>
          <p:cNvSpPr txBox="1"/>
          <p:nvPr/>
        </p:nvSpPr>
        <p:spPr>
          <a:xfrm>
            <a:off x="5050486" y="2282206"/>
            <a:ext cx="196207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chine Lear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B90265-5B0D-2783-BBAE-E13EFA743A9F}"/>
              </a:ext>
            </a:extLst>
          </p:cNvPr>
          <p:cNvSpPr txBox="1"/>
          <p:nvPr/>
        </p:nvSpPr>
        <p:spPr>
          <a:xfrm>
            <a:off x="5294497" y="3678151"/>
            <a:ext cx="16030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ep Lear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3A6A27-8FD3-7769-43E0-AABE263E970D}"/>
              </a:ext>
            </a:extLst>
          </p:cNvPr>
          <p:cNvSpPr txBox="1"/>
          <p:nvPr/>
        </p:nvSpPr>
        <p:spPr>
          <a:xfrm>
            <a:off x="4300651" y="1114827"/>
            <a:ext cx="359069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Field that encompasses the development and implementation of computer systems that can perform tasks requiring human intelligence.</a:t>
            </a:r>
            <a:endParaRPr kumimoji="0" lang="en-NL" sz="14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C1EA2E-E89B-1AA6-6173-5CEAA87CD77F}"/>
              </a:ext>
            </a:extLst>
          </p:cNvPr>
          <p:cNvSpPr txBox="1"/>
          <p:nvPr/>
        </p:nvSpPr>
        <p:spPr>
          <a:xfrm>
            <a:off x="4486503" y="2597462"/>
            <a:ext cx="321898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Enabling computers to learn and improve from data without explicit programming. 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89BEFC6-AE4D-AE9B-8002-E83C8405709B}"/>
              </a:ext>
            </a:extLst>
          </p:cNvPr>
          <p:cNvSpPr txBox="1"/>
          <p:nvPr/>
        </p:nvSpPr>
        <p:spPr>
          <a:xfrm>
            <a:off x="4759476" y="4112002"/>
            <a:ext cx="2673041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Utilizes artificial neural networks with multiple layers to learn and represent complex patterns in data.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öhne"/>
              <a:ea typeface="+mn-ea"/>
              <a:cs typeface="+mn-cs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 Inspired by the structure and function of the human brain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8463A82-0AD5-9E8A-80B7-7897EA44ECB6}"/>
              </a:ext>
            </a:extLst>
          </p:cNvPr>
          <p:cNvCxnSpPr>
            <a:cxnSpLocks/>
          </p:cNvCxnSpPr>
          <p:nvPr/>
        </p:nvCxnSpPr>
        <p:spPr>
          <a:xfrm>
            <a:off x="2453268" y="2007220"/>
            <a:ext cx="1567675" cy="0"/>
          </a:xfrm>
          <a:prstGeom prst="straightConnector1">
            <a:avLst/>
          </a:prstGeom>
          <a:ln w="34925">
            <a:solidFill>
              <a:schemeClr val="accent6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1EDA9B7-E5F7-8F3E-E2DF-77237AAFB971}"/>
              </a:ext>
            </a:extLst>
          </p:cNvPr>
          <p:cNvSpPr txBox="1"/>
          <p:nvPr/>
        </p:nvSpPr>
        <p:spPr>
          <a:xfrm>
            <a:off x="233745" y="1437992"/>
            <a:ext cx="236310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E6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f-driving care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ice assistants (for example, Amazon Alexa)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728DEBB-3080-C73D-F66D-2843A945F33B}"/>
              </a:ext>
            </a:extLst>
          </p:cNvPr>
          <p:cNvCxnSpPr/>
          <p:nvPr/>
        </p:nvCxnSpPr>
        <p:spPr>
          <a:xfrm>
            <a:off x="7478749" y="3520069"/>
            <a:ext cx="1969119" cy="0"/>
          </a:xfrm>
          <a:prstGeom prst="straightConnector1">
            <a:avLst/>
          </a:prstGeom>
          <a:ln w="34925">
            <a:solidFill>
              <a:schemeClr val="accent6"/>
            </a:solidFill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67DEA6A-C8F0-1C05-D76B-C5C32A22AE07}"/>
              </a:ext>
            </a:extLst>
          </p:cNvPr>
          <p:cNvSpPr txBox="1"/>
          <p:nvPr/>
        </p:nvSpPr>
        <p:spPr>
          <a:xfrm>
            <a:off x="9638832" y="3004006"/>
            <a:ext cx="18288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F48C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m filtering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ive maintenance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timent analysi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717D6A0-0962-97CE-4C6C-83FCC8B856EE}"/>
              </a:ext>
            </a:extLst>
          </p:cNvPr>
          <p:cNvCxnSpPr/>
          <p:nvPr/>
        </p:nvCxnSpPr>
        <p:spPr>
          <a:xfrm>
            <a:off x="2884449" y="4913971"/>
            <a:ext cx="1969119" cy="0"/>
          </a:xfrm>
          <a:prstGeom prst="straightConnector1">
            <a:avLst/>
          </a:prstGeom>
          <a:ln w="34925">
            <a:solidFill>
              <a:schemeClr val="accent6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A652F29-857F-5F16-BF95-C016218EB9C2}"/>
              </a:ext>
            </a:extLst>
          </p:cNvPr>
          <p:cNvSpPr txBox="1"/>
          <p:nvPr/>
        </p:nvSpPr>
        <p:spPr>
          <a:xfrm>
            <a:off x="619022" y="4296668"/>
            <a:ext cx="220119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1D71B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uter Vision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ural language processing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mender systems (e.g. Netflix)</a:t>
            </a:r>
          </a:p>
        </p:txBody>
      </p:sp>
    </p:spTree>
    <p:extLst>
      <p:ext uri="{BB962C8B-B14F-4D97-AF65-F5344CB8AC3E}">
        <p14:creationId xmlns:p14="http://schemas.microsoft.com/office/powerpoint/2010/main" val="6865237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D5AB8C-47D2-22BE-8CA1-0E8AF96F8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77800" algn="l"/>
              </a:tabLst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2 VodafoneZiggo Confidential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565E401-63B8-6F43-62C2-DFA4524A10E6}"/>
              </a:ext>
            </a:extLst>
          </p:cNvPr>
          <p:cNvSpPr/>
          <p:nvPr/>
        </p:nvSpPr>
        <p:spPr>
          <a:xfrm>
            <a:off x="3256156" y="360206"/>
            <a:ext cx="5550737" cy="5655635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1784092-4600-BF1B-B465-9C81E7A1C15F}"/>
              </a:ext>
            </a:extLst>
          </p:cNvPr>
          <p:cNvSpPr/>
          <p:nvPr/>
        </p:nvSpPr>
        <p:spPr>
          <a:xfrm>
            <a:off x="3645029" y="1283364"/>
            <a:ext cx="4792856" cy="473247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FB3FE52-B9AA-5E48-CC96-7BF4547899D1}"/>
              </a:ext>
            </a:extLst>
          </p:cNvPr>
          <p:cNvSpPr/>
          <p:nvPr/>
        </p:nvSpPr>
        <p:spPr>
          <a:xfrm>
            <a:off x="4192561" y="2357789"/>
            <a:ext cx="3806877" cy="36580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9721D40-EFDA-E65A-C92B-D77DE344D0CA}"/>
              </a:ext>
            </a:extLst>
          </p:cNvPr>
          <p:cNvSpPr txBox="1"/>
          <p:nvPr/>
        </p:nvSpPr>
        <p:spPr>
          <a:xfrm>
            <a:off x="4967485" y="776979"/>
            <a:ext cx="225702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tificial Intellig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60DB777-B3AC-87DD-B59C-40C2A1FC1434}"/>
              </a:ext>
            </a:extLst>
          </p:cNvPr>
          <p:cNvSpPr txBox="1"/>
          <p:nvPr/>
        </p:nvSpPr>
        <p:spPr>
          <a:xfrm>
            <a:off x="5050486" y="1709660"/>
            <a:ext cx="196207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chine Learn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B90265-5B0D-2783-BBAE-E13EFA743A9F}"/>
              </a:ext>
            </a:extLst>
          </p:cNvPr>
          <p:cNvSpPr txBox="1"/>
          <p:nvPr/>
        </p:nvSpPr>
        <p:spPr>
          <a:xfrm>
            <a:off x="5294497" y="2727007"/>
            <a:ext cx="160300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ep Learning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F8463A82-0AD5-9E8A-80B7-7897EA44ECB6}"/>
              </a:ext>
            </a:extLst>
          </p:cNvPr>
          <p:cNvCxnSpPr>
            <a:cxnSpLocks/>
          </p:cNvCxnSpPr>
          <p:nvPr/>
        </p:nvCxnSpPr>
        <p:spPr>
          <a:xfrm>
            <a:off x="-2017132" y="2007220"/>
            <a:ext cx="1567675" cy="0"/>
          </a:xfrm>
          <a:prstGeom prst="straightConnector1">
            <a:avLst/>
          </a:prstGeom>
          <a:ln w="34925">
            <a:solidFill>
              <a:schemeClr val="accent6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1EDA9B7-E5F7-8F3E-E2DF-77237AAFB971}"/>
              </a:ext>
            </a:extLst>
          </p:cNvPr>
          <p:cNvSpPr txBox="1"/>
          <p:nvPr/>
        </p:nvSpPr>
        <p:spPr>
          <a:xfrm>
            <a:off x="-4236655" y="1437992"/>
            <a:ext cx="236310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E6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lf-driving care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oice assistants (for example, Amazon Alexa)</a:t>
            </a: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A728DEBB-3080-C73D-F66D-2843A945F33B}"/>
              </a:ext>
            </a:extLst>
          </p:cNvPr>
          <p:cNvCxnSpPr/>
          <p:nvPr/>
        </p:nvCxnSpPr>
        <p:spPr>
          <a:xfrm>
            <a:off x="12774649" y="3520069"/>
            <a:ext cx="1969119" cy="0"/>
          </a:xfrm>
          <a:prstGeom prst="straightConnector1">
            <a:avLst/>
          </a:prstGeom>
          <a:ln w="34925">
            <a:solidFill>
              <a:schemeClr val="accent6"/>
            </a:solidFill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267DEA6A-C8F0-1C05-D76B-C5C32A22AE07}"/>
              </a:ext>
            </a:extLst>
          </p:cNvPr>
          <p:cNvSpPr txBox="1"/>
          <p:nvPr/>
        </p:nvSpPr>
        <p:spPr>
          <a:xfrm>
            <a:off x="14934732" y="3004006"/>
            <a:ext cx="18288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F48C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pam filtering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ctive maintenance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ntiment analysi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8717D6A0-0962-97CE-4C6C-83FCC8B856EE}"/>
              </a:ext>
            </a:extLst>
          </p:cNvPr>
          <p:cNvCxnSpPr/>
          <p:nvPr/>
        </p:nvCxnSpPr>
        <p:spPr>
          <a:xfrm>
            <a:off x="-2418576" y="4913971"/>
            <a:ext cx="1969119" cy="0"/>
          </a:xfrm>
          <a:prstGeom prst="straightConnector1">
            <a:avLst/>
          </a:prstGeom>
          <a:ln w="34925">
            <a:solidFill>
              <a:schemeClr val="accent6"/>
            </a:solidFill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A652F29-857F-5F16-BF95-C016218EB9C2}"/>
              </a:ext>
            </a:extLst>
          </p:cNvPr>
          <p:cNvSpPr txBox="1"/>
          <p:nvPr/>
        </p:nvSpPr>
        <p:spPr>
          <a:xfrm>
            <a:off x="-4684003" y="4296668"/>
            <a:ext cx="2201193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1D71B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uter Vision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tural language processing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ommender systems (e.g. Netflix)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D5591A37-54E8-191A-8AC1-596460E346F0}"/>
              </a:ext>
            </a:extLst>
          </p:cNvPr>
          <p:cNvSpPr/>
          <p:nvPr/>
        </p:nvSpPr>
        <p:spPr>
          <a:xfrm>
            <a:off x="4603098" y="3146763"/>
            <a:ext cx="2985804" cy="286907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EF7139-565E-09E7-B790-8C79317B4B90}"/>
              </a:ext>
            </a:extLst>
          </p:cNvPr>
          <p:cNvSpPr txBox="1"/>
          <p:nvPr/>
        </p:nvSpPr>
        <p:spPr>
          <a:xfrm>
            <a:off x="5356502" y="3515981"/>
            <a:ext cx="147899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tive AI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D97E2A5-1D38-FA90-DE5D-950CFC671428}"/>
              </a:ext>
            </a:extLst>
          </p:cNvPr>
          <p:cNvSpPr txBox="1"/>
          <p:nvPr/>
        </p:nvSpPr>
        <p:spPr>
          <a:xfrm>
            <a:off x="4587130" y="4186815"/>
            <a:ext cx="290865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öhne"/>
                <a:ea typeface="+mn-ea"/>
                <a:cs typeface="+mn-cs"/>
              </a:rPr>
              <a:t>Leveraging algorithms to enable computers to learn from data and generate new, original content or data instances based on learned patterns.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öhne"/>
              <a:ea typeface="+mn-ea"/>
              <a:cs typeface="+mn-cs"/>
            </a:endParaRP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48952CA3-787D-07E2-D3FB-7EE4231450EE}"/>
              </a:ext>
            </a:extLst>
          </p:cNvPr>
          <p:cNvCxnSpPr/>
          <p:nvPr/>
        </p:nvCxnSpPr>
        <p:spPr>
          <a:xfrm>
            <a:off x="7704129" y="4712180"/>
            <a:ext cx="1969119" cy="0"/>
          </a:xfrm>
          <a:prstGeom prst="straightConnector1">
            <a:avLst/>
          </a:prstGeom>
          <a:ln w="34925">
            <a:solidFill>
              <a:schemeClr val="accent6"/>
            </a:solidFill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39293D0D-AAE6-217E-E2A5-419AA8800DA5}"/>
              </a:ext>
            </a:extLst>
          </p:cNvPr>
          <p:cNvSpPr txBox="1"/>
          <p:nvPr/>
        </p:nvSpPr>
        <p:spPr>
          <a:xfrm>
            <a:off x="10042012" y="4107217"/>
            <a:ext cx="1828800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L" sz="16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:</a:t>
            </a: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tGPT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djourney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ble</a:t>
            </a: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l-NL" sz="1600" b="0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ffusion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2857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69732903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0" name="Groep 3"/>
          <p:cNvGrpSpPr/>
          <p:nvPr/>
        </p:nvGrpSpPr>
        <p:grpSpPr>
          <a:xfrm>
            <a:off x="528022" y="920670"/>
            <a:ext cx="11135957" cy="1131992"/>
            <a:chOff x="0" y="0"/>
            <a:chExt cx="11135955" cy="1131991"/>
          </a:xfrm>
        </p:grpSpPr>
        <p:sp>
          <p:nvSpPr>
            <p:cNvPr id="435" name="Rectangle 6"/>
            <p:cNvSpPr txBox="1"/>
            <p:nvPr/>
          </p:nvSpPr>
          <p:spPr>
            <a:xfrm rot="16200000">
              <a:off x="-374007" y="381592"/>
              <a:ext cx="993096" cy="22991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8466" tIns="8466" rIns="8466" bIns="8466" numCol="1" anchor="ctr">
              <a:noAutofit/>
            </a:bodyPr>
            <a:lstStyle>
              <a:lvl1pPr algn="ctr" defTabSz="592636">
                <a:lnSpc>
                  <a:spcPct val="90000"/>
                </a:lnSpc>
                <a:spcBef>
                  <a:spcPts val="500"/>
                </a:spcBef>
                <a:defRPr sz="14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lvl1pPr>
            </a:lstStyle>
            <a:p>
              <a:r>
                <a:t>Mission</a:t>
              </a:r>
            </a:p>
          </p:txBody>
        </p:sp>
        <p:sp>
          <p:nvSpPr>
            <p:cNvPr id="436" name="Straight Connector 37"/>
            <p:cNvSpPr/>
            <p:nvPr/>
          </p:nvSpPr>
          <p:spPr>
            <a:xfrm flipH="1">
              <a:off x="393087" y="64646"/>
              <a:ext cx="1" cy="864132"/>
            </a:xfrm>
            <a:prstGeom prst="line">
              <a:avLst/>
            </a:prstGeom>
            <a:noFill/>
            <a:ln w="158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37" name="Straight Connector 64"/>
            <p:cNvSpPr/>
            <p:nvPr/>
          </p:nvSpPr>
          <p:spPr>
            <a:xfrm flipV="1">
              <a:off x="0" y="959382"/>
              <a:ext cx="11135957" cy="28178"/>
            </a:xfrm>
            <a:prstGeom prst="line">
              <a:avLst/>
            </a:prstGeom>
            <a:noFill/>
            <a:ln w="285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38" name="Tekstvak 8"/>
            <p:cNvSpPr txBox="1"/>
            <p:nvPr/>
          </p:nvSpPr>
          <p:spPr>
            <a:xfrm>
              <a:off x="1538699" y="28428"/>
              <a:ext cx="9215588" cy="11035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noAutofit/>
            </a:bodyPr>
            <a:lstStyle/>
            <a:p>
              <a:pPr algn="ctr" defTabSz="914377">
                <a:defRPr sz="1700" b="1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t>“AI Everywhere”</a:t>
              </a:r>
            </a:p>
            <a:p>
              <a:pPr algn="ctr" defTabSz="914377">
                <a:defRPr sz="1700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rPr sz="1600"/>
                <a:t>We drive the transformation of VodafoneZiggo into an AI driven company by infusing AI in every part of our business thereby creating tangible value for our customers and VodafoneZiggo</a:t>
              </a:r>
            </a:p>
          </p:txBody>
        </p:sp>
        <p:pic>
          <p:nvPicPr>
            <p:cNvPr id="439" name="Graphic 38" descr="Graphic 3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290" y="151064"/>
              <a:ext cx="690448" cy="68824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41" name="TextBox 3"/>
          <p:cNvSpPr txBox="1">
            <a:spLocks noGrp="1"/>
          </p:cNvSpPr>
          <p:nvPr>
            <p:ph type="sldNum" sz="quarter" idx="2"/>
          </p:nvPr>
        </p:nvSpPr>
        <p:spPr>
          <a:xfrm>
            <a:off x="11607799" y="6628282"/>
            <a:ext cx="127001" cy="1397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/>
          <a:lstStyle/>
          <a:p>
            <a:fld id="{86CB4B4D-7CA3-9044-876B-883B54F8677D}" type="slidenum">
              <a:rPr/>
              <a:t>5</a:t>
            </a:fld>
            <a:endParaRPr/>
          </a:p>
        </p:txBody>
      </p:sp>
      <p:sp>
        <p:nvSpPr>
          <p:cNvPr id="442" name="Title 1"/>
          <p:cNvSpPr txBox="1">
            <a:spLocks noGrp="1"/>
          </p:cNvSpPr>
          <p:nvPr>
            <p:ph type="title"/>
          </p:nvPr>
        </p:nvSpPr>
        <p:spPr>
          <a:xfrm>
            <a:off x="528021" y="527453"/>
            <a:ext cx="11277601" cy="387800"/>
          </a:xfrm>
          <a:prstGeom prst="rect">
            <a:avLst/>
          </a:prstGeom>
        </p:spPr>
        <p:txBody>
          <a:bodyPr/>
          <a:lstStyle>
            <a:lvl1pPr defTabSz="868636">
              <a:defRPr sz="2660"/>
            </a:lvl1pPr>
          </a:lstStyle>
          <a:p>
            <a:r>
              <a:rPr dirty="0"/>
              <a:t>Our </a:t>
            </a:r>
            <a:r>
              <a:rPr lang="nl-NL" dirty="0"/>
              <a:t>AI </a:t>
            </a:r>
            <a:r>
              <a:rPr dirty="0"/>
              <a:t>Plan on a Page</a:t>
            </a:r>
          </a:p>
        </p:txBody>
      </p:sp>
      <p:sp>
        <p:nvSpPr>
          <p:cNvPr id="443" name="Rectangle 94"/>
          <p:cNvSpPr txBox="1"/>
          <p:nvPr/>
        </p:nvSpPr>
        <p:spPr>
          <a:xfrm rot="16200000">
            <a:off x="-49290" y="2315768"/>
            <a:ext cx="1461100" cy="4187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466" tIns="8466" rIns="8466" bIns="8466" anchor="ctr">
            <a:spAutoFit/>
          </a:bodyPr>
          <a:lstStyle/>
          <a:p>
            <a:pPr algn="ctr" defTabSz="592636">
              <a:lnSpc>
                <a:spcPct val="90000"/>
              </a:lnSpc>
              <a:spcBef>
                <a:spcPts val="500"/>
              </a:spcBef>
              <a:defRPr sz="1200">
                <a:latin typeface="Averta Std Semibold"/>
                <a:ea typeface="Averta Std Semibold"/>
                <a:cs typeface="Averta Std Semibold"/>
                <a:sym typeface="Averta Std Semibold"/>
              </a:defRPr>
            </a:pPr>
            <a:r>
              <a:t>Where to play </a:t>
            </a:r>
            <a:endParaRPr>
              <a:solidFill>
                <a:srgbClr val="FFFFFF"/>
              </a:solidFill>
            </a:endParaRPr>
          </a:p>
          <a:p>
            <a:pPr algn="ctr" defTabSz="592636">
              <a:lnSpc>
                <a:spcPct val="90000"/>
              </a:lnSpc>
              <a:spcBef>
                <a:spcPts val="500"/>
              </a:spcBef>
              <a:defRPr sz="1200">
                <a:latin typeface="Averta Std Semibold"/>
                <a:ea typeface="Averta Std Semibold"/>
                <a:cs typeface="Averta Std Semibold"/>
                <a:sym typeface="Averta Std Semibold"/>
              </a:defRPr>
            </a:pPr>
            <a:r>
              <a:t>&amp; how to win</a:t>
            </a:r>
          </a:p>
        </p:txBody>
      </p:sp>
      <p:sp>
        <p:nvSpPr>
          <p:cNvPr id="444" name="Rectangle 94"/>
          <p:cNvSpPr txBox="1"/>
          <p:nvPr/>
        </p:nvSpPr>
        <p:spPr>
          <a:xfrm rot="16200000">
            <a:off x="-15820" y="4839091"/>
            <a:ext cx="1461100" cy="19473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8466" tIns="8466" rIns="8466" bIns="8466" anchor="ctr">
            <a:spAutoFit/>
          </a:bodyPr>
          <a:lstStyle>
            <a:lvl1pPr algn="ctr" defTabSz="592636">
              <a:lnSpc>
                <a:spcPct val="90000"/>
              </a:lnSpc>
              <a:spcBef>
                <a:spcPts val="500"/>
              </a:spcBef>
              <a:defRPr sz="1200">
                <a:latin typeface="Averta Std Semibold"/>
                <a:ea typeface="Averta Std Semibold"/>
                <a:cs typeface="Averta Std Semibold"/>
                <a:sym typeface="Averta Std Semibold"/>
              </a:defRPr>
            </a:lvl1pPr>
          </a:lstStyle>
          <a:p>
            <a:r>
              <a:t>Value</a:t>
            </a:r>
          </a:p>
        </p:txBody>
      </p:sp>
      <p:grpSp>
        <p:nvGrpSpPr>
          <p:cNvPr id="453" name="Groep 4"/>
          <p:cNvGrpSpPr/>
          <p:nvPr/>
        </p:nvGrpSpPr>
        <p:grpSpPr>
          <a:xfrm>
            <a:off x="486432" y="2103823"/>
            <a:ext cx="11276646" cy="1166220"/>
            <a:chOff x="0" y="0"/>
            <a:chExt cx="11276645" cy="1166218"/>
          </a:xfrm>
        </p:grpSpPr>
        <p:sp>
          <p:nvSpPr>
            <p:cNvPr id="445" name="Straight Connector 64"/>
            <p:cNvSpPr/>
            <p:nvPr/>
          </p:nvSpPr>
          <p:spPr>
            <a:xfrm>
              <a:off x="-1" y="1027093"/>
              <a:ext cx="11276647" cy="22856"/>
            </a:xfrm>
            <a:prstGeom prst="line">
              <a:avLst/>
            </a:prstGeom>
            <a:noFill/>
            <a:ln w="285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46" name="Straight Connector 165"/>
            <p:cNvSpPr/>
            <p:nvPr/>
          </p:nvSpPr>
          <p:spPr>
            <a:xfrm flipH="1">
              <a:off x="449852" y="0"/>
              <a:ext cx="1" cy="902580"/>
            </a:xfrm>
            <a:prstGeom prst="line">
              <a:avLst/>
            </a:prstGeom>
            <a:noFill/>
            <a:ln w="158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47" name="Tekstvak 2"/>
            <p:cNvSpPr txBox="1"/>
            <p:nvPr/>
          </p:nvSpPr>
          <p:spPr>
            <a:xfrm>
              <a:off x="1164497" y="19939"/>
              <a:ext cx="2458965" cy="889001"/>
            </a:xfrm>
            <a:prstGeom prst="rect">
              <a:avLst/>
            </a:prstGeom>
            <a:solidFill>
              <a:srgbClr val="DDDDDD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914377">
                <a:defRPr sz="12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pPr>
              <a:r>
                <a:t>Marketing &amp; Sales</a:t>
              </a:r>
            </a:p>
            <a:p>
              <a:pPr algn="ctr" defTabSz="914353">
                <a:defRPr sz="1200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t>Build smart, personalised marketing &amp; sales engine to attract prospects, retain and grow (converged) customers</a:t>
              </a:r>
            </a:p>
          </p:txBody>
        </p:sp>
        <p:sp>
          <p:nvSpPr>
            <p:cNvPr id="448" name="Tekstvak 39"/>
            <p:cNvSpPr txBox="1"/>
            <p:nvPr/>
          </p:nvSpPr>
          <p:spPr>
            <a:xfrm>
              <a:off x="4669311" y="19939"/>
              <a:ext cx="2354317" cy="711201"/>
            </a:xfrm>
            <a:prstGeom prst="rect">
              <a:avLst/>
            </a:prstGeom>
            <a:solidFill>
              <a:srgbClr val="DDDDDD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914377">
                <a:defRPr sz="12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pPr>
              <a:r>
                <a:t>Operations</a:t>
              </a:r>
            </a:p>
            <a:p>
              <a:pPr algn="ctr" defTabSz="914353">
                <a:defRPr sz="1200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t>Drive towards predictive maintenance to improve network &amp; product experience</a:t>
              </a:r>
            </a:p>
          </p:txBody>
        </p:sp>
        <p:sp>
          <p:nvSpPr>
            <p:cNvPr id="449" name="Tekstvak 40"/>
            <p:cNvSpPr txBox="1"/>
            <p:nvPr/>
          </p:nvSpPr>
          <p:spPr>
            <a:xfrm>
              <a:off x="8327663" y="25906"/>
              <a:ext cx="2149798" cy="711201"/>
            </a:xfrm>
            <a:prstGeom prst="rect">
              <a:avLst/>
            </a:prstGeom>
            <a:solidFill>
              <a:srgbClr val="DDDDDD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algn="ctr" defTabSz="914377">
                <a:defRPr sz="12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pPr>
              <a:r>
                <a:t>Innovation</a:t>
              </a:r>
            </a:p>
            <a:p>
              <a:pPr algn="ctr" defTabSz="914353">
                <a:defRPr sz="1200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t>Invest in developing new AI driven products &amp; </a:t>
              </a:r>
            </a:p>
            <a:p>
              <a:pPr algn="ctr" defTabSz="914353">
                <a:defRPr sz="1200">
                  <a:latin typeface="Averta Std Regular"/>
                  <a:ea typeface="Averta Std Regular"/>
                  <a:cs typeface="Averta Std Regular"/>
                  <a:sym typeface="Averta Std Regular"/>
                </a:defRPr>
              </a:pPr>
              <a:r>
                <a:t>propositions </a:t>
              </a:r>
            </a:p>
          </p:txBody>
        </p:sp>
        <p:sp>
          <p:nvSpPr>
            <p:cNvPr id="450" name="Freeform 84"/>
            <p:cNvSpPr/>
            <p:nvPr/>
          </p:nvSpPr>
          <p:spPr>
            <a:xfrm rot="18395316">
              <a:off x="6757865" y="422588"/>
              <a:ext cx="530326" cy="6650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97" h="21364" extrusionOk="0">
                  <a:moveTo>
                    <a:pt x="5807" y="11018"/>
                  </a:moveTo>
                  <a:lnTo>
                    <a:pt x="9888" y="15251"/>
                  </a:lnTo>
                  <a:lnTo>
                    <a:pt x="9705" y="15306"/>
                  </a:lnTo>
                  <a:lnTo>
                    <a:pt x="9359" y="15476"/>
                  </a:lnTo>
                  <a:lnTo>
                    <a:pt x="9350" y="15467"/>
                  </a:lnTo>
                  <a:lnTo>
                    <a:pt x="9206" y="15523"/>
                  </a:lnTo>
                  <a:cubicBezTo>
                    <a:pt x="9002" y="15564"/>
                    <a:pt x="8777" y="15509"/>
                    <a:pt x="8641" y="15368"/>
                  </a:cubicBezTo>
                  <a:lnTo>
                    <a:pt x="5345" y="11947"/>
                  </a:lnTo>
                  <a:cubicBezTo>
                    <a:pt x="5209" y="11806"/>
                    <a:pt x="5200" y="11620"/>
                    <a:pt x="5304" y="11475"/>
                  </a:cubicBezTo>
                  <a:lnTo>
                    <a:pt x="5410" y="11379"/>
                  </a:lnTo>
                  <a:lnTo>
                    <a:pt x="5393" y="11361"/>
                  </a:lnTo>
                  <a:lnTo>
                    <a:pt x="5703" y="11130"/>
                  </a:lnTo>
                  <a:close/>
                  <a:moveTo>
                    <a:pt x="11961" y="17366"/>
                  </a:moveTo>
                  <a:cubicBezTo>
                    <a:pt x="12277" y="17694"/>
                    <a:pt x="12198" y="18162"/>
                    <a:pt x="11785" y="18413"/>
                  </a:cubicBezTo>
                  <a:cubicBezTo>
                    <a:pt x="11371" y="18663"/>
                    <a:pt x="10780" y="18600"/>
                    <a:pt x="10465" y="18273"/>
                  </a:cubicBezTo>
                  <a:cubicBezTo>
                    <a:pt x="10149" y="17945"/>
                    <a:pt x="10228" y="17477"/>
                    <a:pt x="10641" y="17226"/>
                  </a:cubicBezTo>
                  <a:cubicBezTo>
                    <a:pt x="11055" y="16976"/>
                    <a:pt x="11645" y="17039"/>
                    <a:pt x="11961" y="17366"/>
                  </a:cubicBezTo>
                  <a:close/>
                  <a:moveTo>
                    <a:pt x="3740" y="8837"/>
                  </a:moveTo>
                  <a:cubicBezTo>
                    <a:pt x="4056" y="9165"/>
                    <a:pt x="3977" y="9633"/>
                    <a:pt x="3564" y="9883"/>
                  </a:cubicBezTo>
                  <a:cubicBezTo>
                    <a:pt x="3151" y="10134"/>
                    <a:pt x="2560" y="10071"/>
                    <a:pt x="2244" y="9743"/>
                  </a:cubicBezTo>
                  <a:cubicBezTo>
                    <a:pt x="1928" y="9416"/>
                    <a:pt x="2007" y="8947"/>
                    <a:pt x="2420" y="8697"/>
                  </a:cubicBezTo>
                  <a:cubicBezTo>
                    <a:pt x="2834" y="8447"/>
                    <a:pt x="3425" y="8509"/>
                    <a:pt x="3740" y="8837"/>
                  </a:cubicBezTo>
                  <a:close/>
                  <a:moveTo>
                    <a:pt x="4550" y="8374"/>
                  </a:moveTo>
                  <a:cubicBezTo>
                    <a:pt x="3897" y="7696"/>
                    <a:pt x="2673" y="7566"/>
                    <a:pt x="1817" y="8085"/>
                  </a:cubicBezTo>
                  <a:cubicBezTo>
                    <a:pt x="962" y="8603"/>
                    <a:pt x="798" y="9573"/>
                    <a:pt x="1452" y="10251"/>
                  </a:cubicBezTo>
                  <a:cubicBezTo>
                    <a:pt x="2105" y="10929"/>
                    <a:pt x="3329" y="11059"/>
                    <a:pt x="4185" y="10541"/>
                  </a:cubicBezTo>
                  <a:cubicBezTo>
                    <a:pt x="5040" y="10023"/>
                    <a:pt x="5204" y="9053"/>
                    <a:pt x="4550" y="8374"/>
                  </a:cubicBezTo>
                  <a:close/>
                  <a:moveTo>
                    <a:pt x="12771" y="16904"/>
                  </a:moveTo>
                  <a:cubicBezTo>
                    <a:pt x="12117" y="16226"/>
                    <a:pt x="10894" y="16096"/>
                    <a:pt x="10038" y="16614"/>
                  </a:cubicBezTo>
                  <a:cubicBezTo>
                    <a:pt x="9183" y="17132"/>
                    <a:pt x="9019" y="18102"/>
                    <a:pt x="9673" y="18780"/>
                  </a:cubicBezTo>
                  <a:cubicBezTo>
                    <a:pt x="10326" y="19459"/>
                    <a:pt x="11550" y="19588"/>
                    <a:pt x="12406" y="19070"/>
                  </a:cubicBezTo>
                  <a:cubicBezTo>
                    <a:pt x="13261" y="18552"/>
                    <a:pt x="13425" y="17582"/>
                    <a:pt x="12771" y="16904"/>
                  </a:cubicBezTo>
                  <a:close/>
                  <a:moveTo>
                    <a:pt x="5386" y="7868"/>
                  </a:moveTo>
                  <a:cubicBezTo>
                    <a:pt x="6392" y="8912"/>
                    <a:pt x="6140" y="10406"/>
                    <a:pt x="4823" y="11203"/>
                  </a:cubicBezTo>
                  <a:cubicBezTo>
                    <a:pt x="3506" y="12001"/>
                    <a:pt x="1623" y="11801"/>
                    <a:pt x="616" y="10757"/>
                  </a:cubicBezTo>
                  <a:cubicBezTo>
                    <a:pt x="-390" y="9713"/>
                    <a:pt x="-138" y="8220"/>
                    <a:pt x="1179" y="7422"/>
                  </a:cubicBezTo>
                  <a:cubicBezTo>
                    <a:pt x="2496" y="6625"/>
                    <a:pt x="4380" y="6824"/>
                    <a:pt x="5386" y="7868"/>
                  </a:cubicBezTo>
                  <a:close/>
                  <a:moveTo>
                    <a:pt x="13607" y="16398"/>
                  </a:moveTo>
                  <a:cubicBezTo>
                    <a:pt x="14613" y="17442"/>
                    <a:pt x="14361" y="18935"/>
                    <a:pt x="13044" y="19733"/>
                  </a:cubicBezTo>
                  <a:cubicBezTo>
                    <a:pt x="11727" y="20530"/>
                    <a:pt x="9843" y="20331"/>
                    <a:pt x="8837" y="19286"/>
                  </a:cubicBezTo>
                  <a:cubicBezTo>
                    <a:pt x="7831" y="18242"/>
                    <a:pt x="8083" y="16749"/>
                    <a:pt x="9400" y="15952"/>
                  </a:cubicBezTo>
                  <a:cubicBezTo>
                    <a:pt x="10717" y="15154"/>
                    <a:pt x="12600" y="15354"/>
                    <a:pt x="13607" y="16398"/>
                  </a:cubicBezTo>
                  <a:close/>
                  <a:moveTo>
                    <a:pt x="3447" y="4163"/>
                  </a:moveTo>
                  <a:cubicBezTo>
                    <a:pt x="3556" y="4249"/>
                    <a:pt x="3624" y="4369"/>
                    <a:pt x="3624" y="4501"/>
                  </a:cubicBezTo>
                  <a:lnTo>
                    <a:pt x="3624" y="4501"/>
                  </a:lnTo>
                  <a:lnTo>
                    <a:pt x="3524" y="4692"/>
                  </a:lnTo>
                  <a:lnTo>
                    <a:pt x="3529" y="4698"/>
                  </a:lnTo>
                  <a:lnTo>
                    <a:pt x="3518" y="4705"/>
                  </a:lnTo>
                  <a:lnTo>
                    <a:pt x="3447" y="4840"/>
                  </a:lnTo>
                  <a:cubicBezTo>
                    <a:pt x="3338" y="4926"/>
                    <a:pt x="3187" y="4980"/>
                    <a:pt x="3020" y="4980"/>
                  </a:cubicBezTo>
                  <a:lnTo>
                    <a:pt x="2452" y="4980"/>
                  </a:lnTo>
                  <a:lnTo>
                    <a:pt x="1465" y="5577"/>
                  </a:lnTo>
                  <a:lnTo>
                    <a:pt x="1857" y="6228"/>
                  </a:lnTo>
                  <a:cubicBezTo>
                    <a:pt x="1987" y="6445"/>
                    <a:pt x="1872" y="6704"/>
                    <a:pt x="1598" y="6807"/>
                  </a:cubicBezTo>
                  <a:cubicBezTo>
                    <a:pt x="1325" y="6910"/>
                    <a:pt x="998" y="6819"/>
                    <a:pt x="868" y="6602"/>
                  </a:cubicBezTo>
                  <a:lnTo>
                    <a:pt x="687" y="6301"/>
                  </a:lnTo>
                  <a:lnTo>
                    <a:pt x="286" y="5672"/>
                  </a:lnTo>
                  <a:cubicBezTo>
                    <a:pt x="185" y="5514"/>
                    <a:pt x="219" y="5329"/>
                    <a:pt x="355" y="5202"/>
                  </a:cubicBezTo>
                  <a:lnTo>
                    <a:pt x="387" y="5182"/>
                  </a:lnTo>
                  <a:lnTo>
                    <a:pt x="490" y="5089"/>
                  </a:lnTo>
                  <a:lnTo>
                    <a:pt x="2001" y="4174"/>
                  </a:lnTo>
                  <a:lnTo>
                    <a:pt x="2021" y="4166"/>
                  </a:lnTo>
                  <a:lnTo>
                    <a:pt x="2023" y="4163"/>
                  </a:lnTo>
                  <a:lnTo>
                    <a:pt x="2072" y="4146"/>
                  </a:lnTo>
                  <a:lnTo>
                    <a:pt x="2077" y="4145"/>
                  </a:lnTo>
                  <a:lnTo>
                    <a:pt x="2195" y="4068"/>
                  </a:lnTo>
                  <a:lnTo>
                    <a:pt x="2343" y="4057"/>
                  </a:lnTo>
                  <a:lnTo>
                    <a:pt x="2450" y="4022"/>
                  </a:lnTo>
                  <a:lnTo>
                    <a:pt x="2862" y="4022"/>
                  </a:lnTo>
                  <a:lnTo>
                    <a:pt x="2872" y="4016"/>
                  </a:lnTo>
                  <a:lnTo>
                    <a:pt x="2878" y="4022"/>
                  </a:lnTo>
                  <a:lnTo>
                    <a:pt x="3020" y="4022"/>
                  </a:lnTo>
                  <a:cubicBezTo>
                    <a:pt x="3187" y="4022"/>
                    <a:pt x="3338" y="4076"/>
                    <a:pt x="3447" y="4163"/>
                  </a:cubicBezTo>
                  <a:close/>
                  <a:moveTo>
                    <a:pt x="13746" y="4612"/>
                  </a:moveTo>
                  <a:lnTo>
                    <a:pt x="13812" y="4696"/>
                  </a:lnTo>
                  <a:lnTo>
                    <a:pt x="13815" y="4699"/>
                  </a:lnTo>
                  <a:lnTo>
                    <a:pt x="13814" y="4699"/>
                  </a:lnTo>
                  <a:lnTo>
                    <a:pt x="13839" y="4731"/>
                  </a:lnTo>
                  <a:cubicBezTo>
                    <a:pt x="14016" y="5020"/>
                    <a:pt x="13918" y="5378"/>
                    <a:pt x="13583" y="5581"/>
                  </a:cubicBezTo>
                  <a:cubicBezTo>
                    <a:pt x="13439" y="5668"/>
                    <a:pt x="13272" y="5714"/>
                    <a:pt x="13105" y="5722"/>
                  </a:cubicBezTo>
                  <a:lnTo>
                    <a:pt x="12944" y="5717"/>
                  </a:lnTo>
                  <a:lnTo>
                    <a:pt x="12943" y="5721"/>
                  </a:lnTo>
                  <a:lnTo>
                    <a:pt x="8618" y="5171"/>
                  </a:lnTo>
                  <a:lnTo>
                    <a:pt x="9248" y="5825"/>
                  </a:lnTo>
                  <a:lnTo>
                    <a:pt x="10177" y="6788"/>
                  </a:lnTo>
                  <a:lnTo>
                    <a:pt x="10175" y="6791"/>
                  </a:lnTo>
                  <a:lnTo>
                    <a:pt x="10196" y="6809"/>
                  </a:lnTo>
                  <a:cubicBezTo>
                    <a:pt x="10599" y="7226"/>
                    <a:pt x="10498" y="7824"/>
                    <a:pt x="9971" y="8143"/>
                  </a:cubicBezTo>
                  <a:lnTo>
                    <a:pt x="9950" y="8153"/>
                  </a:lnTo>
                  <a:lnTo>
                    <a:pt x="9536" y="7724"/>
                  </a:lnTo>
                  <a:lnTo>
                    <a:pt x="8495" y="6644"/>
                  </a:lnTo>
                  <a:lnTo>
                    <a:pt x="8275" y="6415"/>
                  </a:lnTo>
                  <a:lnTo>
                    <a:pt x="7130" y="5228"/>
                  </a:lnTo>
                  <a:lnTo>
                    <a:pt x="7087" y="5192"/>
                  </a:lnTo>
                  <a:lnTo>
                    <a:pt x="7055" y="5150"/>
                  </a:lnTo>
                  <a:lnTo>
                    <a:pt x="7045" y="5139"/>
                  </a:lnTo>
                  <a:lnTo>
                    <a:pt x="7046" y="5138"/>
                  </a:lnTo>
                  <a:lnTo>
                    <a:pt x="6995" y="5073"/>
                  </a:lnTo>
                  <a:cubicBezTo>
                    <a:pt x="6818" y="4783"/>
                    <a:pt x="6916" y="4425"/>
                    <a:pt x="7251" y="4222"/>
                  </a:cubicBezTo>
                  <a:cubicBezTo>
                    <a:pt x="7395" y="4136"/>
                    <a:pt x="7561" y="4089"/>
                    <a:pt x="7729" y="4082"/>
                  </a:cubicBezTo>
                  <a:lnTo>
                    <a:pt x="7862" y="4086"/>
                  </a:lnTo>
                  <a:lnTo>
                    <a:pt x="7863" y="4079"/>
                  </a:lnTo>
                  <a:lnTo>
                    <a:pt x="12208" y="4632"/>
                  </a:lnTo>
                  <a:lnTo>
                    <a:pt x="11021" y="3401"/>
                  </a:lnTo>
                  <a:lnTo>
                    <a:pt x="11023" y="3399"/>
                  </a:lnTo>
                  <a:lnTo>
                    <a:pt x="11002" y="3381"/>
                  </a:lnTo>
                  <a:cubicBezTo>
                    <a:pt x="10599" y="2963"/>
                    <a:pt x="10700" y="2366"/>
                    <a:pt x="11227" y="2047"/>
                  </a:cubicBezTo>
                  <a:lnTo>
                    <a:pt x="11248" y="2036"/>
                  </a:lnTo>
                  <a:lnTo>
                    <a:pt x="11663" y="2466"/>
                  </a:lnTo>
                  <a:lnTo>
                    <a:pt x="12585" y="3423"/>
                  </a:lnTo>
                  <a:lnTo>
                    <a:pt x="13661" y="4539"/>
                  </a:lnTo>
                  <a:close/>
                  <a:moveTo>
                    <a:pt x="20058" y="9658"/>
                  </a:moveTo>
                  <a:lnTo>
                    <a:pt x="20016" y="9639"/>
                  </a:lnTo>
                  <a:lnTo>
                    <a:pt x="18925" y="8508"/>
                  </a:lnTo>
                  <a:lnTo>
                    <a:pt x="16291" y="10103"/>
                  </a:lnTo>
                  <a:lnTo>
                    <a:pt x="15995" y="11050"/>
                  </a:lnTo>
                  <a:lnTo>
                    <a:pt x="16636" y="12116"/>
                  </a:lnTo>
                  <a:lnTo>
                    <a:pt x="18118" y="11946"/>
                  </a:lnTo>
                  <a:cubicBezTo>
                    <a:pt x="18405" y="11913"/>
                    <a:pt x="18670" y="12071"/>
                    <a:pt x="18712" y="12298"/>
                  </a:cubicBezTo>
                  <a:cubicBezTo>
                    <a:pt x="18753" y="12525"/>
                    <a:pt x="18554" y="12736"/>
                    <a:pt x="18268" y="12768"/>
                  </a:cubicBezTo>
                  <a:lnTo>
                    <a:pt x="17107" y="12901"/>
                  </a:lnTo>
                  <a:lnTo>
                    <a:pt x="17481" y="13523"/>
                  </a:lnTo>
                  <a:lnTo>
                    <a:pt x="19226" y="12467"/>
                  </a:lnTo>
                  <a:lnTo>
                    <a:pt x="19268" y="12451"/>
                  </a:lnTo>
                  <a:close/>
                  <a:moveTo>
                    <a:pt x="12855" y="682"/>
                  </a:moveTo>
                  <a:lnTo>
                    <a:pt x="16439" y="4400"/>
                  </a:lnTo>
                  <a:cubicBezTo>
                    <a:pt x="16806" y="4781"/>
                    <a:pt x="16943" y="5244"/>
                    <a:pt x="16869" y="5684"/>
                  </a:cubicBezTo>
                  <a:lnTo>
                    <a:pt x="16810" y="5883"/>
                  </a:lnTo>
                  <a:lnTo>
                    <a:pt x="16793" y="5880"/>
                  </a:lnTo>
                  <a:lnTo>
                    <a:pt x="16748" y="5985"/>
                  </a:lnTo>
                  <a:cubicBezTo>
                    <a:pt x="16708" y="6041"/>
                    <a:pt x="16653" y="6092"/>
                    <a:pt x="16583" y="6134"/>
                  </a:cubicBezTo>
                  <a:cubicBezTo>
                    <a:pt x="16306" y="6302"/>
                    <a:pt x="15910" y="6260"/>
                    <a:pt x="15698" y="6041"/>
                  </a:cubicBezTo>
                  <a:cubicBezTo>
                    <a:pt x="15592" y="5931"/>
                    <a:pt x="15552" y="5797"/>
                    <a:pt x="15574" y="5670"/>
                  </a:cubicBezTo>
                  <a:lnTo>
                    <a:pt x="15580" y="5656"/>
                  </a:lnTo>
                  <a:lnTo>
                    <a:pt x="15575" y="5655"/>
                  </a:lnTo>
                  <a:lnTo>
                    <a:pt x="15606" y="5550"/>
                  </a:lnTo>
                  <a:cubicBezTo>
                    <a:pt x="15643" y="5333"/>
                    <a:pt x="15575" y="5105"/>
                    <a:pt x="15394" y="4917"/>
                  </a:cubicBezTo>
                  <a:lnTo>
                    <a:pt x="11952" y="1345"/>
                  </a:lnTo>
                  <a:cubicBezTo>
                    <a:pt x="11590" y="970"/>
                    <a:pt x="10912" y="898"/>
                    <a:pt x="10438" y="1185"/>
                  </a:cubicBezTo>
                  <a:lnTo>
                    <a:pt x="5933" y="3913"/>
                  </a:lnTo>
                  <a:cubicBezTo>
                    <a:pt x="5459" y="4200"/>
                    <a:pt x="5368" y="4738"/>
                    <a:pt x="5731" y="5113"/>
                  </a:cubicBezTo>
                  <a:lnTo>
                    <a:pt x="9173" y="8685"/>
                  </a:lnTo>
                  <a:cubicBezTo>
                    <a:pt x="9535" y="9060"/>
                    <a:pt x="10212" y="9132"/>
                    <a:pt x="10686" y="8845"/>
                  </a:cubicBezTo>
                  <a:lnTo>
                    <a:pt x="14215" y="6708"/>
                  </a:lnTo>
                  <a:lnTo>
                    <a:pt x="14218" y="6709"/>
                  </a:lnTo>
                  <a:lnTo>
                    <a:pt x="14241" y="6692"/>
                  </a:lnTo>
                  <a:cubicBezTo>
                    <a:pt x="14768" y="6373"/>
                    <a:pt x="15521" y="6453"/>
                    <a:pt x="15924" y="6871"/>
                  </a:cubicBezTo>
                  <a:lnTo>
                    <a:pt x="15937" y="6888"/>
                  </a:lnTo>
                  <a:lnTo>
                    <a:pt x="15395" y="7216"/>
                  </a:lnTo>
                  <a:lnTo>
                    <a:pt x="14033" y="8041"/>
                  </a:lnTo>
                  <a:lnTo>
                    <a:pt x="11338" y="9673"/>
                  </a:lnTo>
                  <a:cubicBezTo>
                    <a:pt x="10377" y="10255"/>
                    <a:pt x="9003" y="10109"/>
                    <a:pt x="8270" y="9348"/>
                  </a:cubicBezTo>
                  <a:lnTo>
                    <a:pt x="4686" y="5630"/>
                  </a:lnTo>
                  <a:cubicBezTo>
                    <a:pt x="3952" y="4868"/>
                    <a:pt x="4136" y="3779"/>
                    <a:pt x="5096" y="3198"/>
                  </a:cubicBezTo>
                  <a:lnTo>
                    <a:pt x="9787" y="357"/>
                  </a:lnTo>
                  <a:cubicBezTo>
                    <a:pt x="10747" y="-225"/>
                    <a:pt x="12121" y="-79"/>
                    <a:pt x="12855" y="682"/>
                  </a:cubicBezTo>
                  <a:close/>
                  <a:moveTo>
                    <a:pt x="18231" y="6205"/>
                  </a:moveTo>
                  <a:lnTo>
                    <a:pt x="20979" y="9056"/>
                  </a:lnTo>
                  <a:lnTo>
                    <a:pt x="20984" y="9071"/>
                  </a:lnTo>
                  <a:lnTo>
                    <a:pt x="21085" y="9176"/>
                  </a:lnTo>
                  <a:cubicBezTo>
                    <a:pt x="21176" y="9271"/>
                    <a:pt x="21210" y="9385"/>
                    <a:pt x="21192" y="9494"/>
                  </a:cubicBezTo>
                  <a:lnTo>
                    <a:pt x="21154" y="9582"/>
                  </a:lnTo>
                  <a:lnTo>
                    <a:pt x="21150" y="9715"/>
                  </a:lnTo>
                  <a:lnTo>
                    <a:pt x="19680" y="14911"/>
                  </a:lnTo>
                  <a:lnTo>
                    <a:pt x="19681" y="14915"/>
                  </a:lnTo>
                  <a:lnTo>
                    <a:pt x="20072" y="17419"/>
                  </a:lnTo>
                  <a:cubicBezTo>
                    <a:pt x="20090" y="17536"/>
                    <a:pt x="20046" y="17648"/>
                    <a:pt x="19961" y="17735"/>
                  </a:cubicBezTo>
                  <a:lnTo>
                    <a:pt x="19887" y="17786"/>
                  </a:lnTo>
                  <a:lnTo>
                    <a:pt x="19862" y="17815"/>
                  </a:lnTo>
                  <a:lnTo>
                    <a:pt x="17639" y="19548"/>
                  </a:lnTo>
                  <a:lnTo>
                    <a:pt x="17696" y="19588"/>
                  </a:lnTo>
                  <a:cubicBezTo>
                    <a:pt x="17878" y="19776"/>
                    <a:pt x="17832" y="20045"/>
                    <a:pt x="17595" y="20189"/>
                  </a:cubicBezTo>
                  <a:lnTo>
                    <a:pt x="15800" y="21276"/>
                  </a:lnTo>
                  <a:cubicBezTo>
                    <a:pt x="15681" y="21348"/>
                    <a:pt x="15537" y="21375"/>
                    <a:pt x="15400" y="21360"/>
                  </a:cubicBezTo>
                  <a:lnTo>
                    <a:pt x="15283" y="21329"/>
                  </a:lnTo>
                  <a:lnTo>
                    <a:pt x="15157" y="21300"/>
                  </a:lnTo>
                  <a:lnTo>
                    <a:pt x="15058" y="21259"/>
                  </a:lnTo>
                  <a:lnTo>
                    <a:pt x="15024" y="21251"/>
                  </a:lnTo>
                  <a:lnTo>
                    <a:pt x="13628" y="20673"/>
                  </a:lnTo>
                  <a:cubicBezTo>
                    <a:pt x="13360" y="20562"/>
                    <a:pt x="13256" y="20300"/>
                    <a:pt x="13396" y="20087"/>
                  </a:cubicBezTo>
                  <a:cubicBezTo>
                    <a:pt x="13536" y="19875"/>
                    <a:pt x="13867" y="19792"/>
                    <a:pt x="14136" y="19903"/>
                  </a:cubicBezTo>
                  <a:lnTo>
                    <a:pt x="15412" y="20432"/>
                  </a:lnTo>
                  <a:lnTo>
                    <a:pt x="16826" y="19576"/>
                  </a:lnTo>
                  <a:lnTo>
                    <a:pt x="16711" y="19436"/>
                  </a:lnTo>
                  <a:cubicBezTo>
                    <a:pt x="16633" y="19281"/>
                    <a:pt x="16675" y="19097"/>
                    <a:pt x="16835" y="18972"/>
                  </a:cubicBezTo>
                  <a:lnTo>
                    <a:pt x="18965" y="17312"/>
                  </a:lnTo>
                  <a:lnTo>
                    <a:pt x="18608" y="15020"/>
                  </a:lnTo>
                  <a:lnTo>
                    <a:pt x="18612" y="14976"/>
                  </a:lnTo>
                  <a:lnTo>
                    <a:pt x="18602" y="14956"/>
                  </a:lnTo>
                  <a:cubicBezTo>
                    <a:pt x="18590" y="14901"/>
                    <a:pt x="18591" y="14844"/>
                    <a:pt x="18607" y="14786"/>
                  </a:cubicBezTo>
                  <a:lnTo>
                    <a:pt x="18914" y="13701"/>
                  </a:lnTo>
                  <a:lnTo>
                    <a:pt x="17620" y="14485"/>
                  </a:lnTo>
                  <a:cubicBezTo>
                    <a:pt x="17390" y="14624"/>
                    <a:pt x="17061" y="14590"/>
                    <a:pt x="16885" y="14407"/>
                  </a:cubicBezTo>
                  <a:lnTo>
                    <a:pt x="16830" y="14317"/>
                  </a:lnTo>
                  <a:lnTo>
                    <a:pt x="16741" y="14223"/>
                  </a:lnTo>
                  <a:lnTo>
                    <a:pt x="15021" y="11360"/>
                  </a:lnTo>
                  <a:lnTo>
                    <a:pt x="15012" y="11330"/>
                  </a:lnTo>
                  <a:lnTo>
                    <a:pt x="14992" y="11312"/>
                  </a:lnTo>
                  <a:cubicBezTo>
                    <a:pt x="14923" y="11221"/>
                    <a:pt x="14897" y="11109"/>
                    <a:pt x="14932" y="10998"/>
                  </a:cubicBezTo>
                  <a:lnTo>
                    <a:pt x="15301" y="9816"/>
                  </a:lnTo>
                  <a:lnTo>
                    <a:pt x="15366" y="9708"/>
                  </a:lnTo>
                  <a:lnTo>
                    <a:pt x="15393" y="9643"/>
                  </a:lnTo>
                  <a:cubicBezTo>
                    <a:pt x="15427" y="9596"/>
                    <a:pt x="15473" y="9553"/>
                    <a:pt x="15530" y="9519"/>
                  </a:cubicBezTo>
                  <a:lnTo>
                    <a:pt x="18289" y="7848"/>
                  </a:lnTo>
                  <a:lnTo>
                    <a:pt x="17268" y="6788"/>
                  </a:lnTo>
                  <a:cubicBezTo>
                    <a:pt x="17065" y="6578"/>
                    <a:pt x="17116" y="6276"/>
                    <a:pt x="17382" y="6115"/>
                  </a:cubicBezTo>
                  <a:cubicBezTo>
                    <a:pt x="17648" y="5954"/>
                    <a:pt x="18028" y="5995"/>
                    <a:pt x="18231" y="6205"/>
                  </a:cubicBezTo>
                  <a:close/>
                </a:path>
              </a:pathLst>
            </a:custGeom>
            <a:solidFill>
              <a:srgbClr val="575756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pic>
          <p:nvPicPr>
            <p:cNvPr id="451" name="Graphic 39" descr="Graphic 39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72687" y="460324"/>
              <a:ext cx="535129" cy="5351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52" name="Afbeelding 74" descr="Afbeelding 74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52846" y="533254"/>
              <a:ext cx="462857" cy="494303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457" name="Groep 13"/>
          <p:cNvGrpSpPr/>
          <p:nvPr/>
        </p:nvGrpSpPr>
        <p:grpSpPr>
          <a:xfrm>
            <a:off x="486430" y="4634870"/>
            <a:ext cx="11292383" cy="839769"/>
            <a:chOff x="-1" y="0"/>
            <a:chExt cx="11292381" cy="839767"/>
          </a:xfrm>
        </p:grpSpPr>
        <p:sp>
          <p:nvSpPr>
            <p:cNvPr id="454" name="Straight Connector 165"/>
            <p:cNvSpPr/>
            <p:nvPr/>
          </p:nvSpPr>
          <p:spPr>
            <a:xfrm flipH="1">
              <a:off x="438476" y="0"/>
              <a:ext cx="1201" cy="608724"/>
            </a:xfrm>
            <a:prstGeom prst="line">
              <a:avLst/>
            </a:prstGeom>
            <a:noFill/>
            <a:ln w="158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55" name="Tekstvak 65"/>
            <p:cNvSpPr txBox="1"/>
            <p:nvPr/>
          </p:nvSpPr>
          <p:spPr>
            <a:xfrm>
              <a:off x="703336" y="101929"/>
              <a:ext cx="10400549" cy="492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0" tIns="0" rIns="0" bIns="0" numCol="1" anchor="t">
              <a:spAutoFit/>
            </a:bodyPr>
            <a:lstStyle>
              <a:lvl1pPr algn="ctr" defTabSz="914377">
                <a:defRPr sz="1600">
                  <a:latin typeface="Averta Std Regular"/>
                  <a:ea typeface="Averta Std Regular"/>
                  <a:cs typeface="Averta Std Regular"/>
                  <a:sym typeface="Averta Std Regular"/>
                </a:defRPr>
              </a:lvl1pPr>
            </a:lstStyle>
            <a:p>
              <a:r>
                <a:rPr dirty="0"/>
                <a:t>In 202</a:t>
              </a:r>
              <a:r>
                <a:rPr lang="nl-NL" dirty="0"/>
                <a:t>3</a:t>
              </a:r>
              <a:r>
                <a:rPr dirty="0"/>
                <a:t> we added </a:t>
              </a:r>
              <a:r>
                <a:rPr lang="nl-NL" dirty="0"/>
                <a:t>±11</a:t>
              </a:r>
              <a:r>
                <a:rPr dirty="0"/>
                <a:t> million EUR of additional value (increase revenue/reduce costs/increase NPS) and have </a:t>
              </a:r>
              <a:r>
                <a:rPr lang="nl-NL" dirty="0"/>
                <a:t>&gt; 25</a:t>
              </a:r>
              <a:r>
                <a:rPr dirty="0"/>
                <a:t> models running in production</a:t>
              </a:r>
            </a:p>
          </p:txBody>
        </p:sp>
        <p:sp>
          <p:nvSpPr>
            <p:cNvPr id="456" name="Straight Connector 64"/>
            <p:cNvSpPr/>
            <p:nvPr/>
          </p:nvSpPr>
          <p:spPr>
            <a:xfrm>
              <a:off x="-1" y="789104"/>
              <a:ext cx="11292381" cy="50663"/>
            </a:xfrm>
            <a:prstGeom prst="line">
              <a:avLst/>
            </a:prstGeom>
            <a:noFill/>
            <a:ln w="285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</p:grpSp>
      <p:grpSp>
        <p:nvGrpSpPr>
          <p:cNvPr id="476" name="Groep 11"/>
          <p:cNvGrpSpPr/>
          <p:nvPr/>
        </p:nvGrpSpPr>
        <p:grpSpPr>
          <a:xfrm>
            <a:off x="478563" y="3200242"/>
            <a:ext cx="11292381" cy="1348665"/>
            <a:chOff x="0" y="0"/>
            <a:chExt cx="11292379" cy="1348663"/>
          </a:xfrm>
        </p:grpSpPr>
        <p:sp>
          <p:nvSpPr>
            <p:cNvPr id="458" name="Straight Connector 64"/>
            <p:cNvSpPr/>
            <p:nvPr/>
          </p:nvSpPr>
          <p:spPr>
            <a:xfrm>
              <a:off x="0" y="1293151"/>
              <a:ext cx="11292381" cy="50663"/>
            </a:xfrm>
            <a:prstGeom prst="line">
              <a:avLst/>
            </a:prstGeom>
            <a:noFill/>
            <a:ln w="285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sp>
          <p:nvSpPr>
            <p:cNvPr id="459" name="Rectangle 2"/>
            <p:cNvSpPr txBox="1"/>
            <p:nvPr/>
          </p:nvSpPr>
          <p:spPr>
            <a:xfrm rot="16200000">
              <a:off x="-354890" y="518073"/>
              <a:ext cx="1167854" cy="1947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8466" tIns="8466" rIns="8466" bIns="8466" numCol="1" anchor="ctr">
              <a:spAutoFit/>
            </a:bodyPr>
            <a:lstStyle>
              <a:lvl1pPr algn="ctr" defTabSz="592636">
                <a:lnSpc>
                  <a:spcPct val="90000"/>
                </a:lnSpc>
                <a:spcBef>
                  <a:spcPts val="500"/>
                </a:spcBef>
                <a:defRPr sz="12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lvl1pPr>
            </a:lstStyle>
            <a:p>
              <a:r>
                <a:t>Enablers</a:t>
              </a:r>
            </a:p>
          </p:txBody>
        </p:sp>
        <p:sp>
          <p:nvSpPr>
            <p:cNvPr id="460" name="Straight Connector 165"/>
            <p:cNvSpPr/>
            <p:nvPr/>
          </p:nvSpPr>
          <p:spPr>
            <a:xfrm flipH="1">
              <a:off x="455257" y="104444"/>
              <a:ext cx="4861" cy="1040337"/>
            </a:xfrm>
            <a:prstGeom prst="line">
              <a:avLst/>
            </a:prstGeom>
            <a:noFill/>
            <a:ln w="158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463" name="Groep 12"/>
            <p:cNvGrpSpPr/>
            <p:nvPr/>
          </p:nvGrpSpPr>
          <p:grpSpPr>
            <a:xfrm>
              <a:off x="5396400" y="188260"/>
              <a:ext cx="1064040" cy="1098049"/>
              <a:chOff x="0" y="0"/>
              <a:chExt cx="1064039" cy="1098047"/>
            </a:xfrm>
          </p:grpSpPr>
          <p:sp>
            <p:nvSpPr>
              <p:cNvPr id="461" name="Tekstvak 7"/>
              <p:cNvSpPr txBox="1"/>
              <p:nvPr/>
            </p:nvSpPr>
            <p:spPr>
              <a:xfrm>
                <a:off x="233965" y="856747"/>
                <a:ext cx="596108" cy="2413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>
                  <a:defRPr sz="1600" b="1">
                    <a:solidFill>
                      <a:srgbClr val="2C2C2B"/>
                    </a:solidFill>
                    <a:latin typeface="Averta Std Regular"/>
                    <a:ea typeface="Averta Std Regular"/>
                    <a:cs typeface="Averta Std Regular"/>
                    <a:sym typeface="Averta Std Regular"/>
                  </a:defRPr>
                </a:lvl1pPr>
              </a:lstStyle>
              <a:p>
                <a:r>
                  <a:t>Talent</a:t>
                </a:r>
              </a:p>
            </p:txBody>
          </p:sp>
          <p:pic>
            <p:nvPicPr>
              <p:cNvPr id="462" name="Picture 11" descr="Picture 11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1064040" cy="844232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466" name="Groep 5"/>
            <p:cNvGrpSpPr/>
            <p:nvPr/>
          </p:nvGrpSpPr>
          <p:grpSpPr>
            <a:xfrm>
              <a:off x="6966059" y="14485"/>
              <a:ext cx="1228402" cy="1334179"/>
              <a:chOff x="0" y="0"/>
              <a:chExt cx="1228400" cy="1334178"/>
            </a:xfrm>
          </p:grpSpPr>
          <p:pic>
            <p:nvPicPr>
              <p:cNvPr id="464" name="Picture 22" descr="Picture 22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0" y="0"/>
                <a:ext cx="1228401" cy="1228401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465" name="Rechthoek 9"/>
              <p:cNvSpPr txBox="1"/>
              <p:nvPr/>
            </p:nvSpPr>
            <p:spPr>
              <a:xfrm>
                <a:off x="269801" y="1001438"/>
                <a:ext cx="600930" cy="33274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>
                  <a:defRPr sz="1600" b="1">
                    <a:solidFill>
                      <a:srgbClr val="2C2C2B"/>
                    </a:solidFill>
                    <a:latin typeface="Averta Std Regular"/>
                    <a:ea typeface="Averta Std Regular"/>
                    <a:cs typeface="Averta Std Regular"/>
                    <a:sym typeface="Averta Std Regular"/>
                  </a:defRPr>
                </a:lvl1pPr>
              </a:lstStyle>
              <a:p>
                <a:r>
                  <a:t>Agile</a:t>
                </a:r>
              </a:p>
            </p:txBody>
          </p:sp>
        </p:grpSp>
        <p:grpSp>
          <p:nvGrpSpPr>
            <p:cNvPr id="469" name="Groep 10"/>
            <p:cNvGrpSpPr/>
            <p:nvPr/>
          </p:nvGrpSpPr>
          <p:grpSpPr>
            <a:xfrm>
              <a:off x="2029747" y="0"/>
              <a:ext cx="1142391" cy="1220958"/>
              <a:chOff x="0" y="0"/>
              <a:chExt cx="1142390" cy="1220957"/>
            </a:xfrm>
          </p:grpSpPr>
          <p:pic>
            <p:nvPicPr>
              <p:cNvPr id="467" name="Picture 3" descr="Picture 3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1142391" cy="1128829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468" name="Tekstvak 45"/>
              <p:cNvSpPr txBox="1"/>
              <p:nvPr/>
            </p:nvSpPr>
            <p:spPr>
              <a:xfrm>
                <a:off x="124393" y="979657"/>
                <a:ext cx="836911" cy="2413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>
                  <a:defRPr sz="1600" b="1">
                    <a:solidFill>
                      <a:srgbClr val="2C2C2B"/>
                    </a:solidFill>
                    <a:latin typeface="Averta Std Regular"/>
                    <a:ea typeface="Averta Std Regular"/>
                    <a:cs typeface="Averta Std Regular"/>
                    <a:sym typeface="Averta Std Regular"/>
                  </a:defRPr>
                </a:lvl1pPr>
              </a:lstStyle>
              <a:p>
                <a:r>
                  <a:t>Big Data</a:t>
                </a:r>
              </a:p>
            </p:txBody>
          </p:sp>
        </p:grpSp>
        <p:grpSp>
          <p:nvGrpSpPr>
            <p:cNvPr id="472" name="Groep 14"/>
            <p:cNvGrpSpPr/>
            <p:nvPr/>
          </p:nvGrpSpPr>
          <p:grpSpPr>
            <a:xfrm>
              <a:off x="3524235" y="156368"/>
              <a:ext cx="1301287" cy="1058359"/>
              <a:chOff x="0" y="0"/>
              <a:chExt cx="1301285" cy="1058357"/>
            </a:xfrm>
          </p:grpSpPr>
          <p:pic>
            <p:nvPicPr>
              <p:cNvPr id="470" name="Picture 16" descr="Picture 16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1301286" cy="1058358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471" name="Tekstvak 47"/>
              <p:cNvSpPr txBox="1"/>
              <p:nvPr/>
            </p:nvSpPr>
            <p:spPr>
              <a:xfrm>
                <a:off x="340040" y="500483"/>
                <a:ext cx="588269" cy="2413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>
                  <a:defRPr sz="1600" b="1">
                    <a:solidFill>
                      <a:srgbClr val="2C2C2B"/>
                    </a:solidFill>
                    <a:latin typeface="Averta Std Regular"/>
                    <a:ea typeface="Averta Std Regular"/>
                    <a:cs typeface="Averta Std Regular"/>
                    <a:sym typeface="Averta Std Regular"/>
                  </a:defRPr>
                </a:lvl1pPr>
              </a:lstStyle>
              <a:p>
                <a:r>
                  <a:t>Cloud</a:t>
                </a:r>
              </a:p>
            </p:txBody>
          </p:sp>
        </p:grpSp>
        <p:grpSp>
          <p:nvGrpSpPr>
            <p:cNvPr id="475" name="Groep 15"/>
            <p:cNvGrpSpPr/>
            <p:nvPr/>
          </p:nvGrpSpPr>
          <p:grpSpPr>
            <a:xfrm>
              <a:off x="8844459" y="142466"/>
              <a:ext cx="899647" cy="1175439"/>
              <a:chOff x="0" y="0"/>
              <a:chExt cx="899646" cy="1175438"/>
            </a:xfrm>
          </p:grpSpPr>
          <p:pic>
            <p:nvPicPr>
              <p:cNvPr id="473" name="Picture 19" descr="Picture 19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0" y="0"/>
                <a:ext cx="899647" cy="899647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474" name="Tekstvak 54"/>
              <p:cNvSpPr txBox="1"/>
              <p:nvPr/>
            </p:nvSpPr>
            <p:spPr>
              <a:xfrm>
                <a:off x="31219" y="934138"/>
                <a:ext cx="837209" cy="24130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/>
              <a:p>
                <a:pPr algn="ctr">
                  <a:defRPr sz="1600" b="1">
                    <a:solidFill>
                      <a:srgbClr val="2C2C2B"/>
                    </a:solidFill>
                    <a:latin typeface="Averta Std Regular"/>
                    <a:ea typeface="Averta Std Regular"/>
                    <a:cs typeface="Averta Std Regular"/>
                    <a:sym typeface="Averta Std Regular"/>
                  </a:defRPr>
                </a:pPr>
                <a:r>
                  <a:t>Partners</a:t>
                </a:r>
              </a:p>
            </p:txBody>
          </p:sp>
        </p:grpSp>
      </p:grpSp>
      <p:sp>
        <p:nvSpPr>
          <p:cNvPr id="477" name="Tekstvak 58"/>
          <p:cNvSpPr txBox="1"/>
          <p:nvPr/>
        </p:nvSpPr>
        <p:spPr>
          <a:xfrm>
            <a:off x="4968188" y="11556080"/>
            <a:ext cx="188832" cy="5181601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0" tIns="0" rIns="0" bIns="0">
            <a:spAutoFit/>
          </a:bodyPr>
          <a:lstStyle/>
          <a:p>
            <a:pPr algn="ctr" defTabSz="914377">
              <a:defRPr sz="2000">
                <a:latin typeface="Averta Std Semibold"/>
                <a:ea typeface="Averta Std Semibold"/>
                <a:cs typeface="Averta Std Semibold"/>
                <a:sym typeface="Averta Std Semibold"/>
              </a:defRPr>
            </a:pPr>
            <a:r>
              <a:t>AGILE WAY</a:t>
            </a:r>
          </a:p>
          <a:p>
            <a:pPr algn="ctr" defTabSz="914377">
              <a:defRPr sz="2000">
                <a:latin typeface="Averta Std Semibold"/>
                <a:ea typeface="Averta Std Semibold"/>
                <a:cs typeface="Averta Std Semibold"/>
                <a:sym typeface="Averta Std Semibold"/>
              </a:defRPr>
            </a:pPr>
            <a:r>
              <a:t>OF WORKING</a:t>
            </a:r>
          </a:p>
        </p:txBody>
      </p:sp>
      <p:grpSp>
        <p:nvGrpSpPr>
          <p:cNvPr id="492" name="Groep 17"/>
          <p:cNvGrpSpPr/>
          <p:nvPr/>
        </p:nvGrpSpPr>
        <p:grpSpPr>
          <a:xfrm>
            <a:off x="610314" y="5325917"/>
            <a:ext cx="11494686" cy="1461100"/>
            <a:chOff x="0" y="0"/>
            <a:chExt cx="11494685" cy="1461098"/>
          </a:xfrm>
        </p:grpSpPr>
        <p:sp>
          <p:nvSpPr>
            <p:cNvPr id="478" name="Rectangle 94"/>
            <p:cNvSpPr txBox="1"/>
            <p:nvPr/>
          </p:nvSpPr>
          <p:spPr>
            <a:xfrm rot="16200000">
              <a:off x="-633183" y="633182"/>
              <a:ext cx="1461100" cy="19473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</a:ext>
            </a:extLst>
          </p:spPr>
          <p:txBody>
            <a:bodyPr wrap="square" lIns="8466" tIns="8466" rIns="8466" bIns="8466" numCol="1" anchor="ctr">
              <a:spAutoFit/>
            </a:bodyPr>
            <a:lstStyle>
              <a:lvl1pPr algn="ctr" defTabSz="592636">
                <a:lnSpc>
                  <a:spcPct val="90000"/>
                </a:lnSpc>
                <a:spcBef>
                  <a:spcPts val="500"/>
                </a:spcBef>
                <a:defRPr sz="1200">
                  <a:latin typeface="Averta Std Semibold"/>
                  <a:ea typeface="Averta Std Semibold"/>
                  <a:cs typeface="Averta Std Semibold"/>
                  <a:sym typeface="Averta Std Semibold"/>
                </a:defRPr>
              </a:lvl1pPr>
            </a:lstStyle>
            <a:p>
              <a:r>
                <a:t>Digital Future</a:t>
              </a:r>
            </a:p>
          </p:txBody>
        </p:sp>
        <p:sp>
          <p:nvSpPr>
            <p:cNvPr id="479" name="Straight Connector 165"/>
            <p:cNvSpPr/>
            <p:nvPr/>
          </p:nvSpPr>
          <p:spPr>
            <a:xfrm>
              <a:off x="312084" y="267934"/>
              <a:ext cx="2511" cy="960952"/>
            </a:xfrm>
            <a:prstGeom prst="line">
              <a:avLst/>
            </a:prstGeom>
            <a:noFill/>
            <a:ln w="15875" cap="flat">
              <a:solidFill>
                <a:srgbClr val="E6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endParaRPr/>
            </a:p>
          </p:txBody>
        </p:sp>
        <p:grpSp>
          <p:nvGrpSpPr>
            <p:cNvPr id="482" name="Groep 16"/>
            <p:cNvGrpSpPr/>
            <p:nvPr/>
          </p:nvGrpSpPr>
          <p:grpSpPr>
            <a:xfrm>
              <a:off x="536689" y="391767"/>
              <a:ext cx="2507095" cy="804932"/>
              <a:chOff x="0" y="0"/>
              <a:chExt cx="2507094" cy="804930"/>
            </a:xfrm>
          </p:grpSpPr>
          <p:sp>
            <p:nvSpPr>
              <p:cNvPr id="480" name="Tekstvak 55"/>
              <p:cNvSpPr txBox="1"/>
              <p:nvPr/>
            </p:nvSpPr>
            <p:spPr>
              <a:xfrm>
                <a:off x="0" y="-1"/>
                <a:ext cx="2354317" cy="558801"/>
              </a:xfrm>
              <a:prstGeom prst="rect">
                <a:avLst/>
              </a:prstGeom>
              <a:solidFill>
                <a:srgbClr val="DDDDDD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CUSTOMER </a:t>
                </a:r>
              </a:p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CENTRIC</a:t>
                </a:r>
              </a:p>
            </p:txBody>
          </p:sp>
          <p:pic>
            <p:nvPicPr>
              <p:cNvPr id="481" name="Picture 3" descr="Picture 3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H="1">
                <a:off x="1798326" y="120712"/>
                <a:ext cx="708769" cy="684219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485" name="Groep 18"/>
            <p:cNvGrpSpPr/>
            <p:nvPr/>
          </p:nvGrpSpPr>
          <p:grpSpPr>
            <a:xfrm>
              <a:off x="3191010" y="391766"/>
              <a:ext cx="2562100" cy="824066"/>
              <a:chOff x="0" y="0"/>
              <a:chExt cx="2562099" cy="824064"/>
            </a:xfrm>
          </p:grpSpPr>
          <p:sp>
            <p:nvSpPr>
              <p:cNvPr id="483" name="Tekstvak 56"/>
              <p:cNvSpPr txBox="1"/>
              <p:nvPr/>
            </p:nvSpPr>
            <p:spPr>
              <a:xfrm>
                <a:off x="0" y="-1"/>
                <a:ext cx="2354317" cy="508001"/>
              </a:xfrm>
              <a:prstGeom prst="rect">
                <a:avLst/>
              </a:prstGeom>
              <a:solidFill>
                <a:srgbClr val="DDDDDD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/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AI </a:t>
                </a:r>
              </a:p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DRIVEN</a:t>
                </a:r>
              </a:p>
            </p:txBody>
          </p:sp>
          <p:pic>
            <p:nvPicPr>
              <p:cNvPr id="484" name="Graphic 38" descr="Graphic 38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862870" y="127061"/>
                <a:ext cx="699230" cy="69700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488" name="Groep 23"/>
            <p:cNvGrpSpPr/>
            <p:nvPr/>
          </p:nvGrpSpPr>
          <p:grpSpPr>
            <a:xfrm>
              <a:off x="5998110" y="391765"/>
              <a:ext cx="2376280" cy="891766"/>
              <a:chOff x="0" y="0"/>
              <a:chExt cx="2376279" cy="891764"/>
            </a:xfrm>
          </p:grpSpPr>
          <p:sp>
            <p:nvSpPr>
              <p:cNvPr id="486" name="Tekstvak 57"/>
              <p:cNvSpPr txBox="1"/>
              <p:nvPr/>
            </p:nvSpPr>
            <p:spPr>
              <a:xfrm>
                <a:off x="0" y="-1"/>
                <a:ext cx="2354316" cy="508001"/>
              </a:xfrm>
              <a:prstGeom prst="rect">
                <a:avLst/>
              </a:prstGeom>
              <a:solidFill>
                <a:srgbClr val="DDDDDD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/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DIGITAL</a:t>
                </a:r>
              </a:p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FIRST</a:t>
                </a:r>
              </a:p>
            </p:txBody>
          </p:sp>
          <p:pic>
            <p:nvPicPr>
              <p:cNvPr id="487" name="Afbeelding 20" descr="Afbeelding 20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86143" y="58840"/>
                <a:ext cx="690137" cy="83292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491" name="Groep 21"/>
            <p:cNvGrpSpPr/>
            <p:nvPr/>
          </p:nvGrpSpPr>
          <p:grpSpPr>
            <a:xfrm>
              <a:off x="8749912" y="326647"/>
              <a:ext cx="2744774" cy="956883"/>
              <a:chOff x="0" y="0"/>
              <a:chExt cx="2744773" cy="956882"/>
            </a:xfrm>
          </p:grpSpPr>
          <p:sp>
            <p:nvSpPr>
              <p:cNvPr id="489" name="Tekstvak 76"/>
              <p:cNvSpPr txBox="1"/>
              <p:nvPr/>
            </p:nvSpPr>
            <p:spPr>
              <a:xfrm>
                <a:off x="-1" y="55772"/>
                <a:ext cx="2354317" cy="508001"/>
              </a:xfrm>
              <a:prstGeom prst="rect">
                <a:avLst/>
              </a:prstGeom>
              <a:solidFill>
                <a:srgbClr val="DDDDDD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xmlns:a14="http://schemas.microsoft.com/office/drawing/2010/main" xmlns:m="http://schemas.openxmlformats.org/officeDocument/2006/math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/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AGILE WAY</a:t>
                </a:r>
              </a:p>
              <a:p>
                <a:pPr algn="ctr" defTabSz="914377">
                  <a:defRPr sz="1700">
                    <a:latin typeface="Averta Std Semibold"/>
                    <a:ea typeface="Averta Std Semibold"/>
                    <a:cs typeface="Averta Std Semibold"/>
                    <a:sym typeface="Averta Std Semibold"/>
                  </a:defRPr>
                </a:pPr>
                <a:r>
                  <a:t>OF WORKING</a:t>
                </a:r>
              </a:p>
            </p:txBody>
          </p:sp>
          <p:pic>
            <p:nvPicPr>
              <p:cNvPr id="490" name="Picture 22" descr="Picture 22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87890" y="0"/>
                <a:ext cx="956884" cy="95688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" fill="hold"/>
                                        <p:tgtEl>
                                          <p:spTgt spid="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" fill="hold"/>
                                        <p:tgtEl>
                                          <p:spTgt spid="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1" fill="hold"/>
                                        <p:tgtEl>
                                          <p:spTgt spid="4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4" fill="hold"/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8" fill="hold"/>
                                        <p:tgtEl>
                                          <p:spTgt spid="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" grpId="0" animBg="1" advAuto="0"/>
      <p:bldP spid="443" grpId="0" animBg="1" advAuto="0"/>
      <p:bldP spid="444" grpId="0" animBg="1" advAuto="0"/>
      <p:bldP spid="453" grpId="0" animBg="1" advAuto="0"/>
      <p:bldP spid="457" grpId="0" animBg="1" advAuto="0"/>
      <p:bldP spid="476" grpId="0" animBg="1" advAuto="0"/>
      <p:bldP spid="492" grpId="0" animBg="1" advAuto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013DABF-9120-4565-8390-6AD5E5A7089D}"/>
              </a:ext>
            </a:extLst>
          </p:cNvPr>
          <p:cNvSpPr/>
          <p:nvPr/>
        </p:nvSpPr>
        <p:spPr>
          <a:xfrm>
            <a:off x="0" y="3037280"/>
            <a:ext cx="12203125" cy="1828796"/>
          </a:xfrm>
          <a:prstGeom prst="rect">
            <a:avLst/>
          </a:prstGeom>
          <a:gradFill flip="none" rotWithShape="1">
            <a:gsLst>
              <a:gs pos="0">
                <a:srgbClr val="F48C00"/>
              </a:gs>
              <a:gs pos="100000">
                <a:srgbClr val="E6000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1DCB199-40BC-4B61-A527-055190DA2E47}"/>
              </a:ext>
            </a:extLst>
          </p:cNvPr>
          <p:cNvSpPr/>
          <p:nvPr/>
        </p:nvSpPr>
        <p:spPr>
          <a:xfrm>
            <a:off x="-316489" y="3214364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err="1">
                <a:solidFill>
                  <a:schemeClr val="bg1"/>
                </a:solidFill>
              </a:rPr>
              <a:t>Potential</a:t>
            </a:r>
            <a:endParaRPr lang="nl-NL" sz="1400" b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646F5B-81AD-4D82-8163-E834AA4897A8}"/>
              </a:ext>
            </a:extLst>
          </p:cNvPr>
          <p:cNvSpPr/>
          <p:nvPr/>
        </p:nvSpPr>
        <p:spPr>
          <a:xfrm>
            <a:off x="2014090" y="3214364"/>
            <a:ext cx="2084784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>
                <a:solidFill>
                  <a:schemeClr val="bg1"/>
                </a:solidFill>
              </a:rPr>
              <a:t>Platform </a:t>
            </a:r>
            <a:r>
              <a:rPr lang="nl-NL" sz="1400" b="1" err="1">
                <a:solidFill>
                  <a:schemeClr val="bg1"/>
                </a:solidFill>
              </a:rPr>
              <a:t>capabilities</a:t>
            </a:r>
            <a:endParaRPr lang="nl-NL" sz="1400" b="1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76A75A0-0F75-4F5D-A3FB-3952A0216148}"/>
              </a:ext>
            </a:extLst>
          </p:cNvPr>
          <p:cNvSpPr/>
          <p:nvPr/>
        </p:nvSpPr>
        <p:spPr>
          <a:xfrm>
            <a:off x="3673309" y="3214364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>
                <a:solidFill>
                  <a:schemeClr val="bg1"/>
                </a:solidFill>
              </a:rPr>
              <a:t>Peop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8426F0-B341-4450-97DB-98726068644B}"/>
              </a:ext>
            </a:extLst>
          </p:cNvPr>
          <p:cNvSpPr/>
          <p:nvPr/>
        </p:nvSpPr>
        <p:spPr>
          <a:xfrm>
            <a:off x="5669168" y="3214364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 err="1">
                <a:solidFill>
                  <a:schemeClr val="bg1"/>
                </a:solidFill>
              </a:rPr>
              <a:t>Policies</a:t>
            </a:r>
            <a:r>
              <a:rPr lang="nl-NL" sz="1400" b="1">
                <a:solidFill>
                  <a:schemeClr val="bg1"/>
                </a:solidFill>
              </a:rPr>
              <a:t> &amp; risk management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CE687D1-037A-4720-8686-78BEA637D02F}"/>
              </a:ext>
            </a:extLst>
          </p:cNvPr>
          <p:cNvCxnSpPr>
            <a:cxnSpLocks/>
          </p:cNvCxnSpPr>
          <p:nvPr/>
        </p:nvCxnSpPr>
        <p:spPr>
          <a:xfrm>
            <a:off x="302603" y="391491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BAB6DA-D171-4834-A15A-5D14A00C2A1B}"/>
              </a:ext>
            </a:extLst>
          </p:cNvPr>
          <p:cNvCxnSpPr>
            <a:cxnSpLocks/>
          </p:cNvCxnSpPr>
          <p:nvPr/>
        </p:nvCxnSpPr>
        <p:spPr>
          <a:xfrm>
            <a:off x="2243157" y="391491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069D04-69D1-437C-82DE-E9C2DEA74539}"/>
              </a:ext>
            </a:extLst>
          </p:cNvPr>
          <p:cNvCxnSpPr>
            <a:cxnSpLocks/>
          </p:cNvCxnSpPr>
          <p:nvPr/>
        </p:nvCxnSpPr>
        <p:spPr>
          <a:xfrm>
            <a:off x="4270843" y="391491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993F633-6488-441B-9D08-67A5CE4390E3}"/>
              </a:ext>
            </a:extLst>
          </p:cNvPr>
          <p:cNvCxnSpPr>
            <a:cxnSpLocks/>
          </p:cNvCxnSpPr>
          <p:nvPr/>
        </p:nvCxnSpPr>
        <p:spPr>
          <a:xfrm>
            <a:off x="6318325" y="391491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4C5C855-BBCE-4358-9CCC-EDE18B8AC27F}"/>
              </a:ext>
            </a:extLst>
          </p:cNvPr>
          <p:cNvSpPr/>
          <p:nvPr/>
        </p:nvSpPr>
        <p:spPr>
          <a:xfrm>
            <a:off x="245505" y="3951678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Inspire and drive new demand, select and explore new idea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9B9E1C2-F2D6-497E-8FB8-F778F097AEDF}"/>
              </a:ext>
            </a:extLst>
          </p:cNvPr>
          <p:cNvSpPr/>
          <p:nvPr/>
        </p:nvSpPr>
        <p:spPr>
          <a:xfrm>
            <a:off x="2186059" y="3946915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Set up technical conditions to be able to adapt (and deliver) to changing </a:t>
            </a:r>
            <a:r>
              <a:rPr lang="en-US" sz="1100" err="1">
                <a:solidFill>
                  <a:schemeClr val="bg1"/>
                </a:solidFill>
              </a:rPr>
              <a:t>GenAI</a:t>
            </a:r>
            <a:r>
              <a:rPr lang="en-US" sz="1100">
                <a:solidFill>
                  <a:schemeClr val="bg1"/>
                </a:solidFill>
              </a:rPr>
              <a:t> landscap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178BD36-24B1-4794-B4E3-5277AEB94074}"/>
              </a:ext>
            </a:extLst>
          </p:cNvPr>
          <p:cNvSpPr/>
          <p:nvPr/>
        </p:nvSpPr>
        <p:spPr>
          <a:xfrm>
            <a:off x="6146120" y="3946915"/>
            <a:ext cx="1920574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Guidelines on how to use </a:t>
            </a:r>
            <a:r>
              <a:rPr lang="en-US" sz="1100" err="1">
                <a:solidFill>
                  <a:schemeClr val="bg1"/>
                </a:solidFill>
              </a:rPr>
              <a:t>GenAI</a:t>
            </a:r>
            <a:r>
              <a:rPr lang="en-US" sz="1100">
                <a:solidFill>
                  <a:schemeClr val="bg1"/>
                </a:solidFill>
              </a:rPr>
              <a:t> in a responsible way, protect customers and workforce privac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A5FFCC-A8F1-40DF-B5CA-F573F70FF5FC}"/>
              </a:ext>
            </a:extLst>
          </p:cNvPr>
          <p:cNvSpPr/>
          <p:nvPr/>
        </p:nvSpPr>
        <p:spPr>
          <a:xfrm>
            <a:off x="4190513" y="3946915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Ensure impact on workforce is clear and plan for transformation through literacy and training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4FCCD0-9A04-4FF2-AF52-EAD7FBB49D7E}"/>
              </a:ext>
            </a:extLst>
          </p:cNvPr>
          <p:cNvSpPr/>
          <p:nvPr/>
        </p:nvSpPr>
        <p:spPr>
          <a:xfrm>
            <a:off x="6316827" y="4133482"/>
            <a:ext cx="2081610" cy="3814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400">
              <a:solidFill>
                <a:schemeClr val="bg2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9B8ECBA-A935-4C56-95AF-F90C37D94AA7}"/>
              </a:ext>
            </a:extLst>
          </p:cNvPr>
          <p:cNvGrpSpPr/>
          <p:nvPr/>
        </p:nvGrpSpPr>
        <p:grpSpPr>
          <a:xfrm>
            <a:off x="4819593" y="2700064"/>
            <a:ext cx="608502" cy="608502"/>
            <a:chOff x="4819593" y="4122464"/>
            <a:chExt cx="608502" cy="608502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6FCA99E-4A78-4A29-B519-AD308558EC82}"/>
                </a:ext>
              </a:extLst>
            </p:cNvPr>
            <p:cNvSpPr/>
            <p:nvPr/>
          </p:nvSpPr>
          <p:spPr>
            <a:xfrm>
              <a:off x="4819593" y="4122464"/>
              <a:ext cx="608502" cy="608502"/>
            </a:xfrm>
            <a:prstGeom prst="ellipse">
              <a:avLst/>
            </a:prstGeom>
            <a:solidFill>
              <a:srgbClr val="EF5A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AE31BEB4-2094-4EE6-9A7B-C818C1EF2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929796" y="4223611"/>
              <a:ext cx="388096" cy="388096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402E94E-FFB2-4131-B13E-6940B5533B49}"/>
              </a:ext>
            </a:extLst>
          </p:cNvPr>
          <p:cNvGrpSpPr/>
          <p:nvPr/>
        </p:nvGrpSpPr>
        <p:grpSpPr>
          <a:xfrm>
            <a:off x="6804418" y="2700064"/>
            <a:ext cx="608502" cy="608502"/>
            <a:chOff x="6804418" y="4122464"/>
            <a:chExt cx="608502" cy="608502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9C5B6A2E-E66E-4F4C-AA9E-B6A6DE28EBBD}"/>
                </a:ext>
              </a:extLst>
            </p:cNvPr>
            <p:cNvSpPr/>
            <p:nvPr/>
          </p:nvSpPr>
          <p:spPr>
            <a:xfrm>
              <a:off x="6804418" y="4122464"/>
              <a:ext cx="608502" cy="608502"/>
            </a:xfrm>
            <a:prstGeom prst="ellipse">
              <a:avLst/>
            </a:prstGeom>
            <a:solidFill>
              <a:srgbClr val="F171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302A88B7-51C3-47E8-BE47-B676890DE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917976" y="4229672"/>
              <a:ext cx="394087" cy="394087"/>
            </a:xfrm>
            <a:prstGeom prst="rect">
              <a:avLst/>
            </a:prstGeom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AAA0DA78-07C7-423D-AA1F-10E62567464E}"/>
              </a:ext>
            </a:extLst>
          </p:cNvPr>
          <p:cNvGrpSpPr/>
          <p:nvPr/>
        </p:nvGrpSpPr>
        <p:grpSpPr>
          <a:xfrm>
            <a:off x="2777260" y="2700064"/>
            <a:ext cx="608502" cy="608502"/>
            <a:chOff x="2777260" y="4122464"/>
            <a:chExt cx="608502" cy="60850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646BD24D-4037-4F99-8887-49F49BBEAD7D}"/>
                </a:ext>
              </a:extLst>
            </p:cNvPr>
            <p:cNvSpPr/>
            <p:nvPr/>
          </p:nvSpPr>
          <p:spPr>
            <a:xfrm>
              <a:off x="2777260" y="4122464"/>
              <a:ext cx="608502" cy="608502"/>
            </a:xfrm>
            <a:prstGeom prst="ellipse">
              <a:avLst/>
            </a:prstGeom>
            <a:solidFill>
              <a:srgbClr val="EC3B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239E61A2-7B94-496B-B451-C33D48D28FE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2880449" y="4221308"/>
              <a:ext cx="407935" cy="407935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515C664-B1BD-483F-9C42-0556884D256E}"/>
              </a:ext>
            </a:extLst>
          </p:cNvPr>
          <p:cNvGrpSpPr/>
          <p:nvPr/>
        </p:nvGrpSpPr>
        <p:grpSpPr>
          <a:xfrm>
            <a:off x="810325" y="2700064"/>
            <a:ext cx="608502" cy="608502"/>
            <a:chOff x="810325" y="4122464"/>
            <a:chExt cx="608502" cy="608502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DA250B7-DC36-499B-B375-2C7280DF5885}"/>
                </a:ext>
              </a:extLst>
            </p:cNvPr>
            <p:cNvSpPr/>
            <p:nvPr/>
          </p:nvSpPr>
          <p:spPr>
            <a:xfrm>
              <a:off x="810325" y="4122464"/>
              <a:ext cx="608502" cy="608502"/>
            </a:xfrm>
            <a:prstGeom prst="ellipse">
              <a:avLst/>
            </a:prstGeom>
            <a:solidFill>
              <a:srgbClr val="E817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4141DD84-8F1C-4261-B6FD-0B75239EF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35545" y="4248502"/>
              <a:ext cx="353861" cy="353861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C0CBA765-06BE-4327-81AC-2EC24CE4BB1B}"/>
              </a:ext>
            </a:extLst>
          </p:cNvPr>
          <p:cNvSpPr/>
          <p:nvPr/>
        </p:nvSpPr>
        <p:spPr>
          <a:xfrm>
            <a:off x="7759784" y="3207898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400" b="1">
                <a:solidFill>
                  <a:schemeClr val="bg1"/>
                </a:solidFill>
              </a:rPr>
              <a:t>Partners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63E1A92-AA68-4246-B75C-CC633F365B06}"/>
              </a:ext>
            </a:extLst>
          </p:cNvPr>
          <p:cNvCxnSpPr>
            <a:cxnSpLocks/>
          </p:cNvCxnSpPr>
          <p:nvPr/>
        </p:nvCxnSpPr>
        <p:spPr>
          <a:xfrm>
            <a:off x="8319559" y="3908451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>
            <a:extLst>
              <a:ext uri="{FF2B5EF4-FFF2-40B4-BE49-F238E27FC236}">
                <a16:creationId xmlns:a16="http://schemas.microsoft.com/office/drawing/2014/main" id="{692DB119-D86D-4008-814E-00297E065F18}"/>
              </a:ext>
            </a:extLst>
          </p:cNvPr>
          <p:cNvSpPr/>
          <p:nvPr/>
        </p:nvSpPr>
        <p:spPr>
          <a:xfrm>
            <a:off x="8262461" y="3946915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Build new partnerships and strengthen existing on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8A8E564-B7F6-4DF8-8BB1-A25784F80ECB}"/>
              </a:ext>
            </a:extLst>
          </p:cNvPr>
          <p:cNvGrpSpPr/>
          <p:nvPr/>
        </p:nvGrpSpPr>
        <p:grpSpPr>
          <a:xfrm>
            <a:off x="8899803" y="2700064"/>
            <a:ext cx="608502" cy="608502"/>
            <a:chOff x="8899803" y="4122464"/>
            <a:chExt cx="608502" cy="608502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7BA578C-C349-46DA-8C3E-89D3DDAC5A3A}"/>
                </a:ext>
              </a:extLst>
            </p:cNvPr>
            <p:cNvSpPr/>
            <p:nvPr/>
          </p:nvSpPr>
          <p:spPr>
            <a:xfrm>
              <a:off x="8899803" y="4122464"/>
              <a:ext cx="608502" cy="608502"/>
            </a:xfrm>
            <a:prstGeom prst="ellipse">
              <a:avLst/>
            </a:prstGeom>
            <a:solidFill>
              <a:srgbClr val="F382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D8300381-3277-4E1B-AA6B-0F916B95B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991442" y="4217567"/>
              <a:ext cx="421908" cy="421908"/>
            </a:xfrm>
            <a:prstGeom prst="rect">
              <a:avLst/>
            </a:prstGeom>
          </p:spPr>
        </p:pic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B1EEE789-2037-4836-BC5D-73D7BE22B098}"/>
              </a:ext>
            </a:extLst>
          </p:cNvPr>
          <p:cNvSpPr/>
          <p:nvPr/>
        </p:nvSpPr>
        <p:spPr>
          <a:xfrm>
            <a:off x="9747713" y="3202864"/>
            <a:ext cx="2874478" cy="622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>
                <a:solidFill>
                  <a:schemeClr val="bg1"/>
                </a:solidFill>
              </a:rPr>
              <a:t>Process &amp; data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A8A1BCB-34F4-41BF-B34A-4B765D09315E}"/>
              </a:ext>
            </a:extLst>
          </p:cNvPr>
          <p:cNvCxnSpPr>
            <a:cxnSpLocks/>
          </p:cNvCxnSpPr>
          <p:nvPr/>
        </p:nvCxnSpPr>
        <p:spPr>
          <a:xfrm>
            <a:off x="10366805" y="3903417"/>
            <a:ext cx="16362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CF95DDF3-DF46-435B-8710-A59FD0B189E8}"/>
              </a:ext>
            </a:extLst>
          </p:cNvPr>
          <p:cNvSpPr/>
          <p:nvPr/>
        </p:nvSpPr>
        <p:spPr>
          <a:xfrm>
            <a:off x="10309707" y="3941881"/>
            <a:ext cx="1750490" cy="1091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Data quality is a key enabler for generative AI, ensure ownership and governance on data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8AD1C0C0-4F7C-47BE-857C-8ED19AB8E02A}"/>
              </a:ext>
            </a:extLst>
          </p:cNvPr>
          <p:cNvGrpSpPr/>
          <p:nvPr/>
        </p:nvGrpSpPr>
        <p:grpSpPr>
          <a:xfrm>
            <a:off x="10909299" y="2700064"/>
            <a:ext cx="608502" cy="608502"/>
            <a:chOff x="10130432" y="3075465"/>
            <a:chExt cx="795637" cy="795637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6E86273-2F12-4F28-963B-9E547C8F57A8}"/>
                </a:ext>
              </a:extLst>
            </p:cNvPr>
            <p:cNvSpPr/>
            <p:nvPr/>
          </p:nvSpPr>
          <p:spPr>
            <a:xfrm>
              <a:off x="10130432" y="3075465"/>
              <a:ext cx="795637" cy="795637"/>
            </a:xfrm>
            <a:prstGeom prst="ellipse">
              <a:avLst/>
            </a:prstGeom>
            <a:solidFill>
              <a:srgbClr val="F48B00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l-NL" err="1">
                <a:solidFill>
                  <a:schemeClr val="tx1"/>
                </a:solidFill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6D24BBAC-369E-4BB9-B974-2A7BECFE46E7}"/>
                </a:ext>
              </a:extLst>
            </p:cNvPr>
            <p:cNvSpPr/>
            <p:nvPr/>
          </p:nvSpPr>
          <p:spPr>
            <a:xfrm>
              <a:off x="10308421" y="3269612"/>
              <a:ext cx="439658" cy="44027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nl-NL" sz="800" b="1">
                  <a:solidFill>
                    <a:schemeClr val="bg1"/>
                  </a:solidFill>
                </a:rPr>
                <a:t>100110101101110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536C3508-0CD9-470D-B9F0-307FFF1F0D8A}"/>
              </a:ext>
            </a:extLst>
          </p:cNvPr>
          <p:cNvSpPr txBox="1"/>
          <p:nvPr/>
        </p:nvSpPr>
        <p:spPr>
          <a:xfrm>
            <a:off x="518421" y="2202622"/>
            <a:ext cx="1108403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/>
              <a:t>Successful application of generative AI involves disciplines across the VZ organization, we have identified 6 focus areas:</a:t>
            </a: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EFA03F85-DA76-4D38-8FD6-8E04EFDF2B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5505" y="259017"/>
            <a:ext cx="11277600" cy="742674"/>
          </a:xfrm>
        </p:spPr>
        <p:txBody>
          <a:bodyPr/>
          <a:lstStyle/>
          <a:p>
            <a:r>
              <a:rPr lang="nl-NL" err="1"/>
              <a:t>Enable</a:t>
            </a:r>
            <a:r>
              <a:rPr lang="nl-NL"/>
              <a:t> </a:t>
            </a:r>
            <a:r>
              <a:rPr lang="nl-NL" err="1"/>
              <a:t>smarter</a:t>
            </a:r>
            <a:r>
              <a:rPr lang="nl-NL"/>
              <a:t> digital </a:t>
            </a:r>
            <a:r>
              <a:rPr lang="nl-NL" err="1"/>
              <a:t>experiences</a:t>
            </a:r>
            <a:r>
              <a:rPr lang="nl-NL"/>
              <a:t> </a:t>
            </a:r>
            <a:r>
              <a:rPr lang="nl-NL" err="1"/>
              <a:t>through</a:t>
            </a:r>
            <a:r>
              <a:rPr lang="nl-NL"/>
              <a:t> </a:t>
            </a:r>
            <a:r>
              <a:rPr lang="nl-NL" err="1"/>
              <a:t>Generative</a:t>
            </a:r>
            <a:r>
              <a:rPr lang="nl-NL"/>
              <a:t> AI</a:t>
            </a:r>
          </a:p>
        </p:txBody>
      </p:sp>
    </p:spTree>
    <p:extLst>
      <p:ext uri="{BB962C8B-B14F-4D97-AF65-F5344CB8AC3E}">
        <p14:creationId xmlns:p14="http://schemas.microsoft.com/office/powerpoint/2010/main" val="272237167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BF7EBA2-DBED-F3E4-57B6-A1A19034D3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F7EBA2-DBED-F3E4-57B6-A1A19034D3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2">
            <a:extLst>
              <a:ext uri="{FF2B5EF4-FFF2-40B4-BE49-F238E27FC236}">
                <a16:creationId xmlns:a16="http://schemas.microsoft.com/office/drawing/2014/main" id="{EEF6AA0F-AA0D-E357-9102-2B0DC7743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Focusing on LLMs, it enables a range of capabilities</a:t>
            </a:r>
          </a:p>
        </p:txBody>
      </p:sp>
      <p:sp>
        <p:nvSpPr>
          <p:cNvPr id="2" name="Slide Number Placeholder 2">
            <a:extLst>
              <a:ext uri="{FF2B5EF4-FFF2-40B4-BE49-F238E27FC236}">
                <a16:creationId xmlns:a16="http://schemas.microsoft.com/office/drawing/2014/main" id="{4D945D83-210F-2C18-7F7E-7F19CA80B4F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AAF8830-E5C4-7E0F-A585-E659C8C1E5FE}"/>
              </a:ext>
            </a:extLst>
          </p:cNvPr>
          <p:cNvSpPr/>
          <p:nvPr/>
        </p:nvSpPr>
        <p:spPr>
          <a:xfrm>
            <a:off x="384223" y="4379863"/>
            <a:ext cx="5565093" cy="13712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D924A5-0DA4-DA30-4BB2-B6824FD06D3D}"/>
              </a:ext>
            </a:extLst>
          </p:cNvPr>
          <p:cNvSpPr txBox="1"/>
          <p:nvPr/>
        </p:nvSpPr>
        <p:spPr>
          <a:xfrm>
            <a:off x="638148" y="4361275"/>
            <a:ext cx="1541973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ener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3DA3684-8568-8D21-EF8E-5400F8747DFB}"/>
              </a:ext>
            </a:extLst>
          </p:cNvPr>
          <p:cNvSpPr/>
          <p:nvPr/>
        </p:nvSpPr>
        <p:spPr>
          <a:xfrm>
            <a:off x="396200" y="1322835"/>
            <a:ext cx="5490083" cy="1371200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593FFD-2327-7687-C228-29045B2896AB}"/>
              </a:ext>
            </a:extLst>
          </p:cNvPr>
          <p:cNvSpPr txBox="1"/>
          <p:nvPr/>
        </p:nvSpPr>
        <p:spPr>
          <a:xfrm>
            <a:off x="638148" y="1305418"/>
            <a:ext cx="1832799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assific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5054DB2-A3C2-6695-A7D4-F4DE9DC3DD2E}"/>
              </a:ext>
            </a:extLst>
          </p:cNvPr>
          <p:cNvSpPr/>
          <p:nvPr/>
        </p:nvSpPr>
        <p:spPr>
          <a:xfrm>
            <a:off x="543679" y="1964703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425530E-3527-3663-D15E-A177C3D7B6D8}"/>
              </a:ext>
            </a:extLst>
          </p:cNvPr>
          <p:cNvSpPr/>
          <p:nvPr/>
        </p:nvSpPr>
        <p:spPr>
          <a:xfrm>
            <a:off x="1978873" y="1604414"/>
            <a:ext cx="331638" cy="28113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E154C522-9B1C-59C0-AF8E-C8D788C1E4A4}"/>
              </a:ext>
            </a:extLst>
          </p:cNvPr>
          <p:cNvSpPr/>
          <p:nvPr/>
        </p:nvSpPr>
        <p:spPr>
          <a:xfrm>
            <a:off x="1978873" y="2206578"/>
            <a:ext cx="331638" cy="281138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4AE333E9-FE85-C5AB-75C8-450442E1AEC8}"/>
              </a:ext>
            </a:extLst>
          </p:cNvPr>
          <p:cNvCxnSpPr/>
          <p:nvPr/>
        </p:nvCxnSpPr>
        <p:spPr>
          <a:xfrm flipV="1">
            <a:off x="1253817" y="1744982"/>
            <a:ext cx="547801" cy="21602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3D6F94D9-C42C-6E0D-1B7B-0BA52D537550}"/>
              </a:ext>
            </a:extLst>
          </p:cNvPr>
          <p:cNvCxnSpPr>
            <a:cxnSpLocks/>
          </p:cNvCxnSpPr>
          <p:nvPr/>
        </p:nvCxnSpPr>
        <p:spPr>
          <a:xfrm>
            <a:off x="1268570" y="2083433"/>
            <a:ext cx="571956" cy="29599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28B26DC9-736C-A4CC-AC0B-70274EEA520E}"/>
              </a:ext>
            </a:extLst>
          </p:cNvPr>
          <p:cNvSpPr/>
          <p:nvPr/>
        </p:nvSpPr>
        <p:spPr>
          <a:xfrm>
            <a:off x="6407345" y="1328224"/>
            <a:ext cx="5490083" cy="1371200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F15A3F-6C68-FB95-573B-556B4C17E265}"/>
              </a:ext>
            </a:extLst>
          </p:cNvPr>
          <p:cNvSpPr txBox="1"/>
          <p:nvPr/>
        </p:nvSpPr>
        <p:spPr>
          <a:xfrm>
            <a:off x="6601976" y="1324552"/>
            <a:ext cx="4144141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anslation and Transform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F42AB90-18E0-D381-96DF-15F308E46B4A}"/>
              </a:ext>
            </a:extLst>
          </p:cNvPr>
          <p:cNvSpPr/>
          <p:nvPr/>
        </p:nvSpPr>
        <p:spPr>
          <a:xfrm>
            <a:off x="6430051" y="2886479"/>
            <a:ext cx="5490083" cy="1371200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BBF900-D296-5093-A3B8-D91CB88F28D5}"/>
              </a:ext>
            </a:extLst>
          </p:cNvPr>
          <p:cNvSpPr txBox="1"/>
          <p:nvPr/>
        </p:nvSpPr>
        <p:spPr>
          <a:xfrm>
            <a:off x="6609746" y="2868781"/>
            <a:ext cx="1177888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arch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0A1CCE23-8A7F-8ABB-17ED-964EB322985C}"/>
              </a:ext>
            </a:extLst>
          </p:cNvPr>
          <p:cNvSpPr/>
          <p:nvPr/>
        </p:nvSpPr>
        <p:spPr>
          <a:xfrm>
            <a:off x="6577433" y="3575773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9290FA8C-6921-223E-3FA4-BF2E53E782F2}"/>
              </a:ext>
            </a:extLst>
          </p:cNvPr>
          <p:cNvCxnSpPr>
            <a:cxnSpLocks/>
          </p:cNvCxnSpPr>
          <p:nvPr/>
        </p:nvCxnSpPr>
        <p:spPr>
          <a:xfrm flipV="1">
            <a:off x="7287571" y="3250675"/>
            <a:ext cx="490843" cy="32140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7F64161-65A4-55A7-1BE3-5EB4FFDB3FF6}"/>
              </a:ext>
            </a:extLst>
          </p:cNvPr>
          <p:cNvCxnSpPr>
            <a:cxnSpLocks/>
          </p:cNvCxnSpPr>
          <p:nvPr/>
        </p:nvCxnSpPr>
        <p:spPr>
          <a:xfrm>
            <a:off x="7266538" y="3756538"/>
            <a:ext cx="571956" cy="295998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6982D6A6-BAA2-30C9-3174-2FA92B9C03D7}"/>
              </a:ext>
            </a:extLst>
          </p:cNvPr>
          <p:cNvSpPr/>
          <p:nvPr/>
        </p:nvSpPr>
        <p:spPr>
          <a:xfrm>
            <a:off x="6430051" y="4384912"/>
            <a:ext cx="5490083" cy="1371200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7B94F9E-62D6-7487-82BE-DAB53FEC9792}"/>
              </a:ext>
            </a:extLst>
          </p:cNvPr>
          <p:cNvSpPr txBox="1"/>
          <p:nvPr/>
        </p:nvSpPr>
        <p:spPr>
          <a:xfrm>
            <a:off x="6600526" y="4379863"/>
            <a:ext cx="1177888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tract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06684C14-D33A-A50A-C3E5-57CFDE7670C3}"/>
              </a:ext>
            </a:extLst>
          </p:cNvPr>
          <p:cNvSpPr/>
          <p:nvPr/>
        </p:nvSpPr>
        <p:spPr>
          <a:xfrm>
            <a:off x="6605818" y="4839135"/>
            <a:ext cx="1828800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8D9DC1F8-03F7-28CF-CDA0-4E5EBD2F2F28}"/>
              </a:ext>
            </a:extLst>
          </p:cNvPr>
          <p:cNvSpPr/>
          <p:nvPr/>
        </p:nvSpPr>
        <p:spPr>
          <a:xfrm>
            <a:off x="392958" y="2886479"/>
            <a:ext cx="5490083" cy="137120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30E3163-C0C4-B73D-F661-CEBAD729C63D}"/>
              </a:ext>
            </a:extLst>
          </p:cNvPr>
          <p:cNvSpPr txBox="1"/>
          <p:nvPr/>
        </p:nvSpPr>
        <p:spPr>
          <a:xfrm>
            <a:off x="638148" y="2853292"/>
            <a:ext cx="2021243" cy="30852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sation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062C126-8052-1E98-52B8-3B5C48B65407}"/>
              </a:ext>
            </a:extLst>
          </p:cNvPr>
          <p:cNvSpPr/>
          <p:nvPr/>
        </p:nvSpPr>
        <p:spPr>
          <a:xfrm>
            <a:off x="590886" y="3340565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3BF9F463-8017-5399-F151-D92FC9E02274}"/>
              </a:ext>
            </a:extLst>
          </p:cNvPr>
          <p:cNvSpPr/>
          <p:nvPr/>
        </p:nvSpPr>
        <p:spPr>
          <a:xfrm>
            <a:off x="590886" y="3622112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C0F46E28-EAEB-BB93-DA05-1F3F04CC065E}"/>
              </a:ext>
            </a:extLst>
          </p:cNvPr>
          <p:cNvSpPr/>
          <p:nvPr/>
        </p:nvSpPr>
        <p:spPr>
          <a:xfrm>
            <a:off x="590886" y="3889029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8" name="Rectangle: Rounded Corners 67">
            <a:extLst>
              <a:ext uri="{FF2B5EF4-FFF2-40B4-BE49-F238E27FC236}">
                <a16:creationId xmlns:a16="http://schemas.microsoft.com/office/drawing/2014/main" id="{B1B5D4BB-E7BD-4966-2169-483734E8DC6F}"/>
              </a:ext>
            </a:extLst>
          </p:cNvPr>
          <p:cNvSpPr/>
          <p:nvPr/>
        </p:nvSpPr>
        <p:spPr>
          <a:xfrm>
            <a:off x="1713087" y="3340565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95B77FF7-1152-10AF-F3D7-E18F065AE77D}"/>
              </a:ext>
            </a:extLst>
          </p:cNvPr>
          <p:cNvSpPr/>
          <p:nvPr/>
        </p:nvSpPr>
        <p:spPr>
          <a:xfrm>
            <a:off x="6746700" y="1724570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1" name="Rectangle: Rounded Corners 70">
            <a:extLst>
              <a:ext uri="{FF2B5EF4-FFF2-40B4-BE49-F238E27FC236}">
                <a16:creationId xmlns:a16="http://schemas.microsoft.com/office/drawing/2014/main" id="{0FB61272-75C5-C59F-F1E2-968F86F0966C}"/>
              </a:ext>
            </a:extLst>
          </p:cNvPr>
          <p:cNvSpPr/>
          <p:nvPr/>
        </p:nvSpPr>
        <p:spPr>
          <a:xfrm>
            <a:off x="6746700" y="1991603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5542D7E3-6E68-5FBB-2C00-04D3F00161BC}"/>
              </a:ext>
            </a:extLst>
          </p:cNvPr>
          <p:cNvSpPr/>
          <p:nvPr/>
        </p:nvSpPr>
        <p:spPr>
          <a:xfrm>
            <a:off x="6746700" y="2273034"/>
            <a:ext cx="594662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B893E8E4-69E3-74B7-3A14-AE9E4F6ADB81}"/>
              </a:ext>
            </a:extLst>
          </p:cNvPr>
          <p:cNvSpPr/>
          <p:nvPr/>
        </p:nvSpPr>
        <p:spPr>
          <a:xfrm>
            <a:off x="7868901" y="1724570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1A0A6BEA-A90F-5F92-FA8C-18539E3A639A}"/>
              </a:ext>
            </a:extLst>
          </p:cNvPr>
          <p:cNvSpPr/>
          <p:nvPr/>
        </p:nvSpPr>
        <p:spPr>
          <a:xfrm>
            <a:off x="7868901" y="1991603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3734E7F2-9CBF-7B5C-05A3-3AB1386CDD12}"/>
              </a:ext>
            </a:extLst>
          </p:cNvPr>
          <p:cNvSpPr/>
          <p:nvPr/>
        </p:nvSpPr>
        <p:spPr>
          <a:xfrm>
            <a:off x="7868901" y="2269410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E1CFBA49-395B-06E4-82EA-59333E2FFB75}"/>
              </a:ext>
            </a:extLst>
          </p:cNvPr>
          <p:cNvSpPr/>
          <p:nvPr/>
        </p:nvSpPr>
        <p:spPr>
          <a:xfrm>
            <a:off x="6605818" y="5130259"/>
            <a:ext cx="1828800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55603E13-0D2F-0994-8C20-5A98DB19C523}"/>
              </a:ext>
            </a:extLst>
          </p:cNvPr>
          <p:cNvSpPr/>
          <p:nvPr/>
        </p:nvSpPr>
        <p:spPr>
          <a:xfrm>
            <a:off x="6605818" y="5412271"/>
            <a:ext cx="1828800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379D650D-930D-D9AF-89F2-0EFECD551003}"/>
              </a:ext>
            </a:extLst>
          </p:cNvPr>
          <p:cNvSpPr/>
          <p:nvPr/>
        </p:nvSpPr>
        <p:spPr>
          <a:xfrm>
            <a:off x="602775" y="4851249"/>
            <a:ext cx="1828800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8E37A1F7-4567-EC4F-408A-EF2C115CAB31}"/>
              </a:ext>
            </a:extLst>
          </p:cNvPr>
          <p:cNvSpPr/>
          <p:nvPr/>
        </p:nvSpPr>
        <p:spPr>
          <a:xfrm>
            <a:off x="602775" y="5142373"/>
            <a:ext cx="1828800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522BA224-28D4-DF17-97BE-6F29F1ABE7A7}"/>
              </a:ext>
            </a:extLst>
          </p:cNvPr>
          <p:cNvSpPr/>
          <p:nvPr/>
        </p:nvSpPr>
        <p:spPr>
          <a:xfrm>
            <a:off x="602775" y="5424385"/>
            <a:ext cx="1828800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BFC79C94-AF46-0F67-AEB8-B0383CCC7C1A}"/>
              </a:ext>
            </a:extLst>
          </p:cNvPr>
          <p:cNvSpPr/>
          <p:nvPr/>
        </p:nvSpPr>
        <p:spPr>
          <a:xfrm>
            <a:off x="6990241" y="4839841"/>
            <a:ext cx="594662" cy="1548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E7BC020-38D1-1B1D-1D13-1812E3DC1F1E}"/>
              </a:ext>
            </a:extLst>
          </p:cNvPr>
          <p:cNvSpPr/>
          <p:nvPr/>
        </p:nvSpPr>
        <p:spPr>
          <a:xfrm>
            <a:off x="7649599" y="5131379"/>
            <a:ext cx="694667" cy="1548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9F4C26EF-534F-D68D-3196-0F1800E5B522}"/>
              </a:ext>
            </a:extLst>
          </p:cNvPr>
          <p:cNvSpPr/>
          <p:nvPr/>
        </p:nvSpPr>
        <p:spPr>
          <a:xfrm>
            <a:off x="6714079" y="5411092"/>
            <a:ext cx="594662" cy="15480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F5955C20-1C5C-623A-1703-CDD2311E69B0}"/>
              </a:ext>
            </a:extLst>
          </p:cNvPr>
          <p:cNvSpPr/>
          <p:nvPr/>
        </p:nvSpPr>
        <p:spPr>
          <a:xfrm>
            <a:off x="602775" y="4850449"/>
            <a:ext cx="1004241" cy="15592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95" name="Straight Arrow Connector 94">
            <a:extLst>
              <a:ext uri="{FF2B5EF4-FFF2-40B4-BE49-F238E27FC236}">
                <a16:creationId xmlns:a16="http://schemas.microsoft.com/office/drawing/2014/main" id="{2C12EA09-1462-4545-A820-C48D2A0FA4E2}"/>
              </a:ext>
            </a:extLst>
          </p:cNvPr>
          <p:cNvCxnSpPr>
            <a:cxnSpLocks/>
          </p:cNvCxnSpPr>
          <p:nvPr/>
        </p:nvCxnSpPr>
        <p:spPr>
          <a:xfrm flipV="1">
            <a:off x="7389606" y="3495181"/>
            <a:ext cx="504284" cy="15331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F107AB80-D444-206B-3BFF-6ABB2471C1A9}"/>
              </a:ext>
            </a:extLst>
          </p:cNvPr>
          <p:cNvCxnSpPr>
            <a:cxnSpLocks/>
          </p:cNvCxnSpPr>
          <p:nvPr/>
        </p:nvCxnSpPr>
        <p:spPr>
          <a:xfrm>
            <a:off x="7445414" y="3725892"/>
            <a:ext cx="453496" cy="13002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8C215F77-4822-91CF-AF0A-5158AA01FECA}"/>
              </a:ext>
            </a:extLst>
          </p:cNvPr>
          <p:cNvSpPr/>
          <p:nvPr/>
        </p:nvSpPr>
        <p:spPr>
          <a:xfrm>
            <a:off x="7936343" y="3268820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0" name="Rectangle: Rounded Corners 99">
            <a:extLst>
              <a:ext uri="{FF2B5EF4-FFF2-40B4-BE49-F238E27FC236}">
                <a16:creationId xmlns:a16="http://schemas.microsoft.com/office/drawing/2014/main" id="{58481C82-74CC-AFB9-9C55-DB39AA3EE437}"/>
              </a:ext>
            </a:extLst>
          </p:cNvPr>
          <p:cNvSpPr/>
          <p:nvPr/>
        </p:nvSpPr>
        <p:spPr>
          <a:xfrm>
            <a:off x="7936343" y="3508717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CB384248-588A-780E-47EF-F6E1DAE535E1}"/>
              </a:ext>
            </a:extLst>
          </p:cNvPr>
          <p:cNvSpPr/>
          <p:nvPr/>
        </p:nvSpPr>
        <p:spPr>
          <a:xfrm>
            <a:off x="7928197" y="3748617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2" name="Rectangle: Rounded Corners 101">
            <a:extLst>
              <a:ext uri="{FF2B5EF4-FFF2-40B4-BE49-F238E27FC236}">
                <a16:creationId xmlns:a16="http://schemas.microsoft.com/office/drawing/2014/main" id="{0769FD44-4091-A06C-8E81-0A6B535F239E}"/>
              </a:ext>
            </a:extLst>
          </p:cNvPr>
          <p:cNvSpPr/>
          <p:nvPr/>
        </p:nvSpPr>
        <p:spPr>
          <a:xfrm>
            <a:off x="7923106" y="3690406"/>
            <a:ext cx="594662" cy="155920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641248-6DFE-BAE9-E13C-FD122FC0C17C}"/>
              </a:ext>
            </a:extLst>
          </p:cNvPr>
          <p:cNvSpPr txBox="1"/>
          <p:nvPr/>
        </p:nvSpPr>
        <p:spPr>
          <a:xfrm>
            <a:off x="2440802" y="1609470"/>
            <a:ext cx="3366267" cy="9009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tegory classification (based on examples) or basic prompt for detecting sentiment (positive, negative element)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857779-D2F2-C49E-D048-B4E599B50E6F}"/>
              </a:ext>
            </a:extLst>
          </p:cNvPr>
          <p:cNvSpPr txBox="1"/>
          <p:nvPr/>
        </p:nvSpPr>
        <p:spPr>
          <a:xfrm>
            <a:off x="2431574" y="3268820"/>
            <a:ext cx="3508513" cy="5058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y of text into main messages or keywords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BEC3ED-0255-854C-4C1B-41FB358A02BC}"/>
              </a:ext>
            </a:extLst>
          </p:cNvPr>
          <p:cNvSpPr txBox="1"/>
          <p:nvPr/>
        </p:nvSpPr>
        <p:spPr>
          <a:xfrm>
            <a:off x="2440802" y="4674345"/>
            <a:ext cx="3508513" cy="9059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ief text or longform prose generation based on provided prompt (with or without example text)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47CC980-B113-05E0-71DB-75F991A5D9C4}"/>
              </a:ext>
            </a:extLst>
          </p:cNvPr>
          <p:cNvSpPr txBox="1"/>
          <p:nvPr/>
        </p:nvSpPr>
        <p:spPr>
          <a:xfrm>
            <a:off x="8599043" y="4691887"/>
            <a:ext cx="3366267" cy="90097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theme and entity extraction from text or documents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310377C-02E8-EEE0-7EBA-A183ADE07280}"/>
              </a:ext>
            </a:extLst>
          </p:cNvPr>
          <p:cNvSpPr txBox="1"/>
          <p:nvPr/>
        </p:nvSpPr>
        <p:spPr>
          <a:xfrm>
            <a:off x="8674981" y="3189874"/>
            <a:ext cx="3366267" cy="90097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nding key information from a range of text.</a:t>
            </a:r>
            <a:endParaRPr kumimoji="0" lang="en-NL" sz="14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53CEC03-7E89-C62E-BCDC-0FDB4A3AEB3A}"/>
              </a:ext>
            </a:extLst>
          </p:cNvPr>
          <p:cNvSpPr txBox="1"/>
          <p:nvPr/>
        </p:nvSpPr>
        <p:spPr>
          <a:xfrm>
            <a:off x="8599043" y="1663374"/>
            <a:ext cx="3366267" cy="90097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 translation of text from one language to any other.</a:t>
            </a:r>
          </a:p>
        </p:txBody>
      </p:sp>
    </p:spTree>
    <p:extLst>
      <p:ext uri="{BB962C8B-B14F-4D97-AF65-F5344CB8AC3E}">
        <p14:creationId xmlns:p14="http://schemas.microsoft.com/office/powerpoint/2010/main" val="109239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EEDA89-3C2A-FFA3-69F8-46610B8053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nl-NL" dirty="0"/>
              <a:t>HR </a:t>
            </a:r>
            <a:r>
              <a:rPr lang="nl-NL" dirty="0" err="1"/>
              <a:t>Chatbo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854843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FC7B4-1318-41FE-A96D-9DF50C19D7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98064"/>
            <a:ext cx="11277600" cy="750887"/>
          </a:xfrm>
        </p:spPr>
        <p:txBody>
          <a:bodyPr/>
          <a:lstStyle/>
          <a:p>
            <a:r>
              <a:rPr lang="en-GB"/>
              <a:t>HR Chat – better knowledge retrieval for colleagues and HelloHR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711A561A-9FED-948D-CE30-8D4355B53F83}"/>
              </a:ext>
            </a:extLst>
          </p:cNvPr>
          <p:cNvGraphicFramePr/>
          <p:nvPr/>
        </p:nvGraphicFramePr>
        <p:xfrm>
          <a:off x="457200" y="1652712"/>
          <a:ext cx="6137380" cy="4485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3" name="Graphic 22" descr="Folder Search with solid fill">
            <a:extLst>
              <a:ext uri="{FF2B5EF4-FFF2-40B4-BE49-F238E27FC236}">
                <a16:creationId xmlns:a16="http://schemas.microsoft.com/office/drawing/2014/main" id="{F93963BE-20BD-46A0-71D7-B00F6BA725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1619" y="1983044"/>
            <a:ext cx="716539" cy="716539"/>
          </a:xfrm>
          <a:prstGeom prst="rect">
            <a:avLst/>
          </a:prstGeom>
        </p:spPr>
      </p:pic>
      <p:pic>
        <p:nvPicPr>
          <p:cNvPr id="10" name="Graphic 9" descr="Hourglass 30% with solid fill">
            <a:extLst>
              <a:ext uri="{FF2B5EF4-FFF2-40B4-BE49-F238E27FC236}">
                <a16:creationId xmlns:a16="http://schemas.microsoft.com/office/drawing/2014/main" id="{C6D6C681-9E29-D8DD-0BE8-C28A7EA365A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93512" y="3024484"/>
            <a:ext cx="717740" cy="717740"/>
          </a:xfrm>
          <a:prstGeom prst="rect">
            <a:avLst/>
          </a:prstGeom>
        </p:spPr>
      </p:pic>
      <p:pic>
        <p:nvPicPr>
          <p:cNvPr id="14" name="Graphic 13" descr="Exclamation mark with solid fill">
            <a:extLst>
              <a:ext uri="{FF2B5EF4-FFF2-40B4-BE49-F238E27FC236}">
                <a16:creationId xmlns:a16="http://schemas.microsoft.com/office/drawing/2014/main" id="{30CF6167-142D-C29E-2CB9-0022EEA3500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93512" y="4067125"/>
            <a:ext cx="717740" cy="717740"/>
          </a:xfrm>
          <a:prstGeom prst="rect">
            <a:avLst/>
          </a:prstGeom>
        </p:spPr>
      </p:pic>
      <p:pic>
        <p:nvPicPr>
          <p:cNvPr id="18" name="Graphic 17" descr="Artificial Intelligence with solid fill">
            <a:extLst>
              <a:ext uri="{FF2B5EF4-FFF2-40B4-BE49-F238E27FC236}">
                <a16:creationId xmlns:a16="http://schemas.microsoft.com/office/drawing/2014/main" id="{9484AF84-4B1C-B290-0CF6-943C1A59B10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11619" y="5086611"/>
            <a:ext cx="759981" cy="759981"/>
          </a:xfrm>
          <a:prstGeom prst="rect">
            <a:avLst/>
          </a:prstGeom>
        </p:spPr>
      </p:pic>
      <p:pic>
        <p:nvPicPr>
          <p:cNvPr id="1026" name="Picture 2" descr="An employee is helped by a cute chatbot in finding an answer to their question, in the style of calvin and hobbes">
            <a:extLst>
              <a:ext uri="{FF2B5EF4-FFF2-40B4-BE49-F238E27FC236}">
                <a16:creationId xmlns:a16="http://schemas.microsoft.com/office/drawing/2014/main" id="{B9C80127-01B3-65A6-5430-62255D229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2944" y="1983045"/>
            <a:ext cx="3863548" cy="3863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F09B902F-821F-D133-CDFA-E653E89FB1BA}"/>
              </a:ext>
            </a:extLst>
          </p:cNvPr>
          <p:cNvSpPr txBox="1"/>
          <p:nvPr/>
        </p:nvSpPr>
        <p:spPr>
          <a:xfrm>
            <a:off x="7232944" y="5846593"/>
            <a:ext cx="38635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Roboto" panose="020F0502020204030204" pitchFamily="34" charset="0"/>
                <a:ea typeface="+mn-ea"/>
                <a:cs typeface="+mn-cs"/>
              </a:rPr>
              <a:t>An employee is helped by a cute chatbot in finding an answer to their question, in the style of </a:t>
            </a:r>
            <a:r>
              <a: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Roboto" panose="020F0502020204030204" pitchFamily="34" charset="0"/>
                <a:ea typeface="+mn-ea"/>
                <a:cs typeface="+mn-cs"/>
              </a:rPr>
              <a:t>calvin</a:t>
            </a: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Roboto" panose="020F0502020204030204" pitchFamily="34" charset="0"/>
                <a:ea typeface="+mn-ea"/>
                <a:cs typeface="+mn-cs"/>
              </a:rPr>
              <a:t> and </a:t>
            </a:r>
            <a:r>
              <a:rPr kumimoji="0" lang="en-GB" sz="1200" b="1" i="0" u="none" strike="noStrike" kern="1200" cap="none" spc="0" normalizeH="0" baseline="0" noProof="0" err="1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Roboto" panose="020F0502020204030204" pitchFamily="34" charset="0"/>
                <a:ea typeface="+mn-ea"/>
                <a:cs typeface="+mn-cs"/>
              </a:rPr>
              <a:t>hobbes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21130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Z Template">
  <a:themeElements>
    <a:clrScheme name="VodafoneZiggo">
      <a:dk1>
        <a:srgbClr val="000000"/>
      </a:dk1>
      <a:lt1>
        <a:srgbClr val="FFFFFF"/>
      </a:lt1>
      <a:dk2>
        <a:srgbClr val="575756"/>
      </a:dk2>
      <a:lt2>
        <a:srgbClr val="DADADA"/>
      </a:lt2>
      <a:accent1>
        <a:srgbClr val="F48C00"/>
      </a:accent1>
      <a:accent2>
        <a:srgbClr val="E60000"/>
      </a:accent2>
      <a:accent3>
        <a:srgbClr val="8E1D81"/>
      </a:accent3>
      <a:accent4>
        <a:srgbClr val="0563C1"/>
      </a:accent4>
      <a:accent5>
        <a:srgbClr val="5DAA1A"/>
      </a:accent5>
      <a:accent6>
        <a:srgbClr val="FFE6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pzet workshop stakeholder E2ET.potx" id="{7238FA8D-14DF-4D01-8024-BE4FF5E9E1D3}" vid="{DB3BE685-D6A7-458C-A950-932603F444F2}"/>
    </a:ext>
  </a:extLst>
</a:theme>
</file>

<file path=ppt/theme/theme2.xml><?xml version="1.0" encoding="utf-8"?>
<a:theme xmlns:a="http://schemas.openxmlformats.org/drawingml/2006/main" name="1_VZ Template">
  <a:themeElements>
    <a:clrScheme name="Vodafone Ziggo">
      <a:dk1>
        <a:srgbClr val="575756"/>
      </a:dk1>
      <a:lt1>
        <a:srgbClr val="FFFFFF"/>
      </a:lt1>
      <a:dk2>
        <a:srgbClr val="F48C00"/>
      </a:dk2>
      <a:lt2>
        <a:srgbClr val="E60000"/>
      </a:lt2>
      <a:accent1>
        <a:srgbClr val="E71D73"/>
      </a:accent1>
      <a:accent2>
        <a:srgbClr val="97BA4A"/>
      </a:accent2>
      <a:accent3>
        <a:srgbClr val="000000"/>
      </a:accent3>
      <a:accent4>
        <a:srgbClr val="1D71B8"/>
      </a:accent4>
      <a:accent5>
        <a:srgbClr val="FFCC00"/>
      </a:accent5>
      <a:accent6>
        <a:srgbClr val="414140"/>
      </a:accent6>
      <a:hlink>
        <a:srgbClr val="E71D73"/>
      </a:hlink>
      <a:folHlink>
        <a:srgbClr val="57575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10913_VZ Template" id="{12950D14-050C-4CBA-89BE-1E8D8D3586BB}" vid="{4836AA52-5D69-4921-B180-19C9C2B1660B}"/>
    </a:ext>
  </a:extLst>
</a:theme>
</file>

<file path=ppt/theme/theme3.xml><?xml version="1.0" encoding="utf-8"?>
<a:theme xmlns:a="http://schemas.openxmlformats.org/drawingml/2006/main" name="VFZ2021">
  <a:themeElements>
    <a:clrScheme name="Vodafone Ziggo">
      <a:dk1>
        <a:srgbClr val="121212"/>
      </a:dk1>
      <a:lt1>
        <a:srgbClr val="FFFFFF"/>
      </a:lt1>
      <a:dk2>
        <a:srgbClr val="494949"/>
      </a:dk2>
      <a:lt2>
        <a:srgbClr val="F0F1F3"/>
      </a:lt2>
      <a:accent1>
        <a:srgbClr val="F48C00"/>
      </a:accent1>
      <a:accent2>
        <a:srgbClr val="E60000"/>
      </a:accent2>
      <a:accent3>
        <a:srgbClr val="8E1D81"/>
      </a:accent3>
      <a:accent4>
        <a:srgbClr val="FAC24F"/>
      </a:accent4>
      <a:accent5>
        <a:srgbClr val="6D6D6D"/>
      </a:accent5>
      <a:accent6>
        <a:srgbClr val="5DAA1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FZ2021" id="{3337A4F9-DB95-4D91-9385-5F626AD09138}" vid="{E2AAE70C-6BC8-4116-B6C3-1C3B0A560DC7}"/>
    </a:ext>
  </a:extLst>
</a:theme>
</file>

<file path=ppt/theme/theme4.xml><?xml version="1.0" encoding="utf-8"?>
<a:theme xmlns:a="http://schemas.openxmlformats.org/drawingml/2006/main" name="3_VZ Template">
  <a:themeElements>
    <a:clrScheme name="Vodafone Ziggo">
      <a:dk1>
        <a:srgbClr val="121212"/>
      </a:dk1>
      <a:lt1>
        <a:srgbClr val="FFFFFF"/>
      </a:lt1>
      <a:dk2>
        <a:srgbClr val="494949"/>
      </a:dk2>
      <a:lt2>
        <a:srgbClr val="F0F1F3"/>
      </a:lt2>
      <a:accent1>
        <a:srgbClr val="F48C00"/>
      </a:accent1>
      <a:accent2>
        <a:srgbClr val="E60000"/>
      </a:accent2>
      <a:accent3>
        <a:srgbClr val="8E1D81"/>
      </a:accent3>
      <a:accent4>
        <a:srgbClr val="FAC24F"/>
      </a:accent4>
      <a:accent5>
        <a:srgbClr val="6D6D6D"/>
      </a:accent5>
      <a:accent6>
        <a:srgbClr val="5DAA1A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Z PowerPoint template 2021.pptx" id="{1CF289D8-0BEF-4BF5-ADBD-B04AD7983F6A}" vid="{4B67317F-4ABC-4CE2-8649-12C708F4DE3B}"/>
    </a:ext>
  </a:extLst>
</a:theme>
</file>

<file path=ppt/theme/theme5.xml><?xml version="1.0" encoding="utf-8"?>
<a:theme xmlns:a="http://schemas.openxmlformats.org/drawingml/2006/main" name="4_VZ Template">
  <a:themeElements>
    <a:clrScheme name="Custom 9">
      <a:dk1>
        <a:srgbClr val="000000"/>
      </a:dk1>
      <a:lt1>
        <a:srgbClr val="FFFFFF"/>
      </a:lt1>
      <a:dk2>
        <a:srgbClr val="575756"/>
      </a:dk2>
      <a:lt2>
        <a:srgbClr val="DADADA"/>
      </a:lt2>
      <a:accent1>
        <a:srgbClr val="F48C00"/>
      </a:accent1>
      <a:accent2>
        <a:srgbClr val="E60000"/>
      </a:accent2>
      <a:accent3>
        <a:srgbClr val="595959"/>
      </a:accent3>
      <a:accent4>
        <a:srgbClr val="A3A3A3"/>
      </a:accent4>
      <a:accent5>
        <a:srgbClr val="DADADA"/>
      </a:accent5>
      <a:accent6>
        <a:srgbClr val="E60000"/>
      </a:accent6>
      <a:hlink>
        <a:srgbClr val="595959"/>
      </a:hlink>
      <a:folHlink>
        <a:srgbClr val="5959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branding template v23 (Light Version).potx" id="{59E9345D-A695-4A08-966E-3D533DEF530F}" vid="{3454D12E-FEE5-42DA-9964-D18D370FE5B3}"/>
    </a:ext>
  </a:extLst>
</a:theme>
</file>

<file path=ppt/theme/theme6.xml><?xml version="1.0" encoding="utf-8"?>
<a:theme xmlns:a="http://schemas.openxmlformats.org/drawingml/2006/main" name="2_VZ Template">
  <a:themeElements>
    <a:clrScheme name="VodafoneZiggo">
      <a:dk1>
        <a:srgbClr val="000000"/>
      </a:dk1>
      <a:lt1>
        <a:srgbClr val="FFFFFF"/>
      </a:lt1>
      <a:dk2>
        <a:srgbClr val="575756"/>
      </a:dk2>
      <a:lt2>
        <a:srgbClr val="DADADA"/>
      </a:lt2>
      <a:accent1>
        <a:srgbClr val="F48C00"/>
      </a:accent1>
      <a:accent2>
        <a:srgbClr val="E60000"/>
      </a:accent2>
      <a:accent3>
        <a:srgbClr val="8E1D81"/>
      </a:accent3>
      <a:accent4>
        <a:srgbClr val="0563C1"/>
      </a:accent4>
      <a:accent5>
        <a:srgbClr val="5DAA1A"/>
      </a:accent5>
      <a:accent6>
        <a:srgbClr val="FFE6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branding template v23.potx  -  Read-Only" id="{2A2E07D3-721D-4D6F-8C77-6A8D55C94319}" vid="{22881978-22DD-4958-96B6-FD3EE4DFFA7F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odafone Ziggo">
    <a:dk1>
      <a:srgbClr val="575756"/>
    </a:dk1>
    <a:lt1>
      <a:srgbClr val="FFFFFF"/>
    </a:lt1>
    <a:dk2>
      <a:srgbClr val="F48C00"/>
    </a:dk2>
    <a:lt2>
      <a:srgbClr val="E60000"/>
    </a:lt2>
    <a:accent1>
      <a:srgbClr val="E71D73"/>
    </a:accent1>
    <a:accent2>
      <a:srgbClr val="97BA4A"/>
    </a:accent2>
    <a:accent3>
      <a:srgbClr val="000000"/>
    </a:accent3>
    <a:accent4>
      <a:srgbClr val="1D71B8"/>
    </a:accent4>
    <a:accent5>
      <a:srgbClr val="FFCC00"/>
    </a:accent5>
    <a:accent6>
      <a:srgbClr val="414140"/>
    </a:accent6>
    <a:hlink>
      <a:srgbClr val="E71D73"/>
    </a:hlink>
    <a:folHlink>
      <a:srgbClr val="575756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42948DB2984D4EAC72DF4A9CFADA70" ma:contentTypeVersion="14" ma:contentTypeDescription="Create a new document." ma:contentTypeScope="" ma:versionID="9b0251ca13ac071dd89efd25f3b49bc5">
  <xsd:schema xmlns:xsd="http://www.w3.org/2001/XMLSchema" xmlns:xs="http://www.w3.org/2001/XMLSchema" xmlns:p="http://schemas.microsoft.com/office/2006/metadata/properties" xmlns:ns1="http://schemas.microsoft.com/sharepoint/v3" xmlns:ns2="866c83d7-c4c9-42cd-bb4c-08e010d7bdf8" xmlns:ns3="4097d52e-ed0d-484d-bb46-98711f1e8130" targetNamespace="http://schemas.microsoft.com/office/2006/metadata/properties" ma:root="true" ma:fieldsID="90521c4004f7df875d63a825d664cd72" ns1:_="" ns2:_="" ns3:_="">
    <xsd:import namespace="http://schemas.microsoft.com/sharepoint/v3"/>
    <xsd:import namespace="866c83d7-c4c9-42cd-bb4c-08e010d7bdf8"/>
    <xsd:import namespace="4097d52e-ed0d-484d-bb46-98711f1e81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c83d7-c4c9-42cd-bb4c-08e010d7bd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97d52e-ed0d-484d-bb46-98711f1e8130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4097d52e-ed0d-484d-bb46-98711f1e8130">
      <UserInfo>
        <DisplayName>Olsthoorn, Eveliene  (VodafoneZiggo)</DisplayName>
        <AccountId>10</AccountId>
        <AccountType/>
      </UserInfo>
      <UserInfo>
        <DisplayName>Blanken, Mirna den (VodafoneZiggo)</DisplayName>
        <AccountId>25</AccountId>
        <AccountType/>
      </UserInfo>
      <UserInfo>
        <DisplayName>Groot, Richard (VodafoneZiggo)</DisplayName>
        <AccountId>26</AccountId>
        <AccountType/>
      </UserInfo>
      <UserInfo>
        <DisplayName>Amelsfort, Leoni van (VodafoneZiggo)</DisplayName>
        <AccountId>23</AccountId>
        <AccountType/>
      </UserInfo>
      <UserInfo>
        <DisplayName>Canjels, Karlijn (VodafoneZiggo)</DisplayName>
        <AccountId>21</AccountId>
        <AccountType/>
      </UserInfo>
      <UserInfo>
        <DisplayName>Warmels, Ronald (VodafoneZiggo)</DisplayName>
        <AccountId>3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A5A94F5-2911-45D5-937A-2618F1F447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B40E65-E263-4D80-8FF5-0D2C1256145D}">
  <ds:schemaRefs>
    <ds:schemaRef ds:uri="4097d52e-ed0d-484d-bb46-98711f1e8130"/>
    <ds:schemaRef ds:uri="866c83d7-c4c9-42cd-bb4c-08e010d7bdf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A858109-EC2C-4DD2-8419-ED5C461090FE}">
  <ds:schemaRefs>
    <ds:schemaRef ds:uri="http://schemas.microsoft.com/office/2006/metadata/properties"/>
    <ds:schemaRef ds:uri="http://schemas.microsoft.com/sharepoint/v3"/>
    <ds:schemaRef ds:uri="866c83d7-c4c9-42cd-bb4c-08e010d7bdf8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4097d52e-ed0d-484d-bb46-98711f1e8130"/>
    <ds:schemaRef ds:uri="http://www.w3.org/XML/1998/namespace"/>
    <ds:schemaRef ds:uri="http://purl.org/dc/dcmitype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pzet workshop stakeholder E2ET</Template>
  <TotalTime>1768</TotalTime>
  <Words>1779</Words>
  <Application>Microsoft Macintosh PowerPoint</Application>
  <PresentationFormat>Breedbeeld</PresentationFormat>
  <Paragraphs>272</Paragraphs>
  <Slides>28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2</vt:i4>
      </vt:variant>
      <vt:variant>
        <vt:lpstr>Thema</vt:lpstr>
      </vt:variant>
      <vt:variant>
        <vt:i4>6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8</vt:i4>
      </vt:variant>
    </vt:vector>
  </HeadingPairs>
  <TitlesOfParts>
    <vt:vector size="47" baseType="lpstr">
      <vt:lpstr>Arial</vt:lpstr>
      <vt:lpstr>Averta Std Black</vt:lpstr>
      <vt:lpstr>Averta Std Light</vt:lpstr>
      <vt:lpstr>Averta Std Regular</vt:lpstr>
      <vt:lpstr>Averta Std Semibold</vt:lpstr>
      <vt:lpstr>Calibri</vt:lpstr>
      <vt:lpstr>Courier</vt:lpstr>
      <vt:lpstr>Inter</vt:lpstr>
      <vt:lpstr>Lato</vt:lpstr>
      <vt:lpstr>Lato Black</vt:lpstr>
      <vt:lpstr>Roboto</vt:lpstr>
      <vt:lpstr>Söhne</vt:lpstr>
      <vt:lpstr>VZ Template</vt:lpstr>
      <vt:lpstr>1_VZ Template</vt:lpstr>
      <vt:lpstr>VFZ2021</vt:lpstr>
      <vt:lpstr>3_VZ Template</vt:lpstr>
      <vt:lpstr>4_VZ Template</vt:lpstr>
      <vt:lpstr>2_VZ Template</vt:lpstr>
      <vt:lpstr>think-cell Slide</vt:lpstr>
      <vt:lpstr>PowerPoint-presentatie</vt:lpstr>
      <vt:lpstr>PowerPoint-presentatie</vt:lpstr>
      <vt:lpstr>PowerPoint-presentatie</vt:lpstr>
      <vt:lpstr>PowerPoint-presentatie</vt:lpstr>
      <vt:lpstr>Our AI Plan on a Page</vt:lpstr>
      <vt:lpstr>Enable smarter digital experiences through Generative AI</vt:lpstr>
      <vt:lpstr>Focusing on LLMs, it enables a range of capabilities</vt:lpstr>
      <vt:lpstr>HR Chatbot</vt:lpstr>
      <vt:lpstr>HR Chat – better knowledge retrieval for colleagues and HelloHR</vt:lpstr>
      <vt:lpstr>HR Chat – How does it work?</vt:lpstr>
      <vt:lpstr>HR Chat – Under the hood: how do we get an answer?</vt:lpstr>
      <vt:lpstr>Service Scan</vt:lpstr>
      <vt:lpstr>Creating a new service proposition as part of our Exceptional CX ambition</vt:lpstr>
      <vt:lpstr>When a customer has got issues according to the data we will reach out to help them </vt:lpstr>
      <vt:lpstr>The basis of the Service scan is the Health check model which identifies root-causes of customer issues</vt:lpstr>
      <vt:lpstr>Service Scan Flow &amp; insights</vt:lpstr>
      <vt:lpstr>Are you a Disney+ look-a-like?</vt:lpstr>
      <vt:lpstr>DataRobot is an automated machine learning capability that will help us enable the business user and scale AI.</vt:lpstr>
      <vt:lpstr>As part of our Endless Entertainment program we want to drive customer loyalty through (on-screen) entertainment aggregation</vt:lpstr>
      <vt:lpstr>We were able to kickstart this project by using DataRobot as a tool for our initial model(s) and get to the core of what is relevant.</vt:lpstr>
      <vt:lpstr>The usage of other OTT-apps proves to have a good predictive value when it comes to identifying (potential) Disney+ users.</vt:lpstr>
      <vt:lpstr>There is a clear relation between customer age and the likelihood of Disney+ usage, peaking for those between 30-55 years. </vt:lpstr>
      <vt:lpstr>We can experiment with different communications, to make sure they are in line with customers’ personal interest.</vt:lpstr>
      <vt:lpstr>Let’s talk</vt:lpstr>
      <vt:lpstr>PowerPoint-presentatie</vt:lpstr>
      <vt:lpstr>PowerPoint-presentatie</vt:lpstr>
      <vt:lpstr>PowerPoint-presentatie</vt:lpstr>
      <vt:lpstr>PowerPoint-presentatie</vt:lpstr>
    </vt:vector>
  </TitlesOfParts>
  <Company>Ziggo B.V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zet Stakeholder Workshop E2ET</dc:title>
  <dc:creator>Olsthoorn, Eveliene (VodafoneZiggo)</dc:creator>
  <cp:lastModifiedBy>Link Ontwerpers Office 2</cp:lastModifiedBy>
  <cp:revision>33</cp:revision>
  <cp:lastPrinted>2023-10-10T19:29:36Z</cp:lastPrinted>
  <dcterms:created xsi:type="dcterms:W3CDTF">2022-11-28T12:23:13Z</dcterms:created>
  <dcterms:modified xsi:type="dcterms:W3CDTF">2023-11-09T15:2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MSIP_Label_715a3b17-f2bf-438c-b355-857d2523fdc8_Enabled">
    <vt:lpwstr>true</vt:lpwstr>
  </property>
  <property fmtid="{D5CDD505-2E9C-101B-9397-08002B2CF9AE}" pid="4" name="MSIP_Label_715a3b17-f2bf-438c-b355-857d2523fdc8_SetDate">
    <vt:lpwstr>2022-12-05T10:06:21Z</vt:lpwstr>
  </property>
  <property fmtid="{D5CDD505-2E9C-101B-9397-08002B2CF9AE}" pid="5" name="MSIP_Label_715a3b17-f2bf-438c-b355-857d2523fdc8_Method">
    <vt:lpwstr>Standard</vt:lpwstr>
  </property>
  <property fmtid="{D5CDD505-2E9C-101B-9397-08002B2CF9AE}" pid="6" name="MSIP_Label_715a3b17-f2bf-438c-b355-857d2523fdc8_Name">
    <vt:lpwstr>715a3b17-f2bf-438c-b355-857d2523fdc8</vt:lpwstr>
  </property>
  <property fmtid="{D5CDD505-2E9C-101B-9397-08002B2CF9AE}" pid="7" name="MSIP_Label_715a3b17-f2bf-438c-b355-857d2523fdc8_SiteId">
    <vt:lpwstr>eaad54da-6687-41bb-9c13-71419686deaa</vt:lpwstr>
  </property>
  <property fmtid="{D5CDD505-2E9C-101B-9397-08002B2CF9AE}" pid="8" name="MSIP_Label_715a3b17-f2bf-438c-b355-857d2523fdc8_ActionId">
    <vt:lpwstr>31aa3427-df69-4d89-80bf-2047ac3bd612</vt:lpwstr>
  </property>
  <property fmtid="{D5CDD505-2E9C-101B-9397-08002B2CF9AE}" pid="9" name="MSIP_Label_715a3b17-f2bf-438c-b355-857d2523fdc8_ContentBits">
    <vt:lpwstr>2</vt:lpwstr>
  </property>
  <property fmtid="{D5CDD505-2E9C-101B-9397-08002B2CF9AE}" pid="10" name="MediaServiceImageTags">
    <vt:lpwstr/>
  </property>
  <property fmtid="{D5CDD505-2E9C-101B-9397-08002B2CF9AE}" pid="11" name="ContentTypeId">
    <vt:lpwstr>0x0101003342948DB2984D4EAC72DF4A9CFADA70</vt:lpwstr>
  </property>
</Properties>
</file>